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9" r:id="rId23"/>
  </p:sldMasterIdLst>
  <p:notesMasterIdLst>
    <p:notesMasterId r:id="rId29"/>
  </p:notesMasterIdLst>
  <p:handoutMasterIdLst>
    <p:handoutMasterId r:id="rId30"/>
  </p:handoutMasterIdLst>
  <p:sldIdLst>
    <p:sldId id="1026" r:id="rId24"/>
    <p:sldId id="1137" r:id="rId25"/>
    <p:sldId id="1126" r:id="rId26"/>
    <p:sldId id="1127" r:id="rId27"/>
    <p:sldId id="369" r:id="rId28"/>
  </p:sldIdLst>
  <p:sldSz cx="12198350" cy="6858000"/>
  <p:notesSz cx="7102475" cy="10234613"/>
  <p:custDataLst>
    <p:tags r:id="rId3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6856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3715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057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7429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4285" algn="l" defTabSz="913715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1142" algn="l" defTabSz="913715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197999" algn="l" defTabSz="913715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4855" algn="l" defTabSz="913715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3">
          <p15:clr>
            <a:srgbClr val="A4A3A4"/>
          </p15:clr>
        </p15:guide>
        <p15:guide id="13" orient="horz" pos="655">
          <p15:clr>
            <a:srgbClr val="A4A3A4"/>
          </p15:clr>
        </p15:guide>
        <p15:guide id="14" orient="horz" pos="2452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  <p15:guide id="17" orient="horz" pos="2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FF00"/>
    <a:srgbClr val="00CC00"/>
    <a:srgbClr val="E1E1D7"/>
    <a:srgbClr val="A5E1E1"/>
    <a:srgbClr val="99FF99"/>
    <a:srgbClr val="00CC66"/>
    <a:srgbClr val="008080"/>
    <a:srgbClr val="FFFF66"/>
    <a:srgbClr val="FF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09" autoAdjust="0"/>
    <p:restoredTop sz="99385" autoAdjust="0"/>
  </p:normalViewPr>
  <p:slideViewPr>
    <p:cSldViewPr snapToObjects="1" showGuides="1">
      <p:cViewPr varScale="1">
        <p:scale>
          <a:sx n="53" d="100"/>
          <a:sy n="53" d="100"/>
        </p:scale>
        <p:origin x="885" y="3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3"/>
        <p:guide orient="horz" pos="655"/>
        <p:guide orient="horz" pos="2452"/>
        <p:guide orient="horz" pos="2360"/>
        <p:guide orient="horz" pos="909"/>
        <p:guide orient="horz" pos="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323"/>
    </p:cViewPr>
  </p:sorterViewPr>
  <p:notesViewPr>
    <p:cSldViewPr snapToObjects="1" showGuides="1">
      <p:cViewPr varScale="1">
        <p:scale>
          <a:sx n="78" d="100"/>
          <a:sy n="78" d="100"/>
        </p:scale>
        <p:origin x="-3402" y="-108"/>
      </p:cViewPr>
      <p:guideLst>
        <p:guide orient="horz" pos="3224"/>
        <p:guide pos="2236"/>
        <p:guide pos="223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2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1.xml"/><Relationship Id="rId28" Type="http://schemas.openxmlformats.org/officeDocument/2006/relationships/slide" Target="slides/slide5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4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ww007\e72k\Dept\EFESENMK5\MK5\New%20MK5\Special%20Projects%20&amp;%20WIP\ASR\SynerGen\White%20Paper\MISO%20data\20180430_hwd_HIST%20(Autosaved)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ww007\e72k\Dept\EFESENMK5\MK5\New%20MK5\Special%20Projects%20&amp;%20WIP\ASR\SynerGen\White%20Paper\MISO%20data\20180430_hwd_HIST%20(Autosaved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2!$F$36</c:f>
              <c:strCache>
                <c:ptCount val="1"/>
                <c:pt idx="0">
                  <c:v>Solar</c:v>
                </c:pt>
              </c:strCache>
            </c:strRef>
          </c:tx>
          <c:spPr>
            <a:ln w="31750">
              <a:solidFill>
                <a:srgbClr val="FFC000"/>
              </a:solidFill>
            </a:ln>
          </c:spPr>
          <c:marker>
            <c:symbol val="none"/>
          </c:marker>
          <c:xVal>
            <c:numRef>
              <c:f>Sheet2!$B$37:$B$60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xVal>
          <c:yVal>
            <c:numRef>
              <c:f>Sheet2!$F$37:$F$60</c:f>
              <c:numCache>
                <c:formatCode>0.00</c:formatCode>
                <c:ptCount val="24"/>
                <c:pt idx="0">
                  <c:v>0.01</c:v>
                </c:pt>
                <c:pt idx="1">
                  <c:v>0.01</c:v>
                </c:pt>
                <c:pt idx="2">
                  <c:v>0.01</c:v>
                </c:pt>
                <c:pt idx="3">
                  <c:v>0.01</c:v>
                </c:pt>
                <c:pt idx="4">
                  <c:v>0.01</c:v>
                </c:pt>
                <c:pt idx="5">
                  <c:v>0.01</c:v>
                </c:pt>
                <c:pt idx="6">
                  <c:v>0.01</c:v>
                </c:pt>
                <c:pt idx="7">
                  <c:v>0.01</c:v>
                </c:pt>
                <c:pt idx="8">
                  <c:v>1.0067999999999984</c:v>
                </c:pt>
                <c:pt idx="9">
                  <c:v>1.804000000000002</c:v>
                </c:pt>
                <c:pt idx="10">
                  <c:v>2.3736000000000033</c:v>
                </c:pt>
                <c:pt idx="11">
                  <c:v>2.7155999999999985</c:v>
                </c:pt>
                <c:pt idx="12">
                  <c:v>2.8300000000000018</c:v>
                </c:pt>
                <c:pt idx="13">
                  <c:v>2.7168000000000028</c:v>
                </c:pt>
                <c:pt idx="14">
                  <c:v>2.3759999999999977</c:v>
                </c:pt>
                <c:pt idx="15">
                  <c:v>1.8076000000000008</c:v>
                </c:pt>
                <c:pt idx="16">
                  <c:v>1.0116000000000049</c:v>
                </c:pt>
                <c:pt idx="17">
                  <c:v>0.01</c:v>
                </c:pt>
                <c:pt idx="18">
                  <c:v>0.01</c:v>
                </c:pt>
                <c:pt idx="19">
                  <c:v>0.01</c:v>
                </c:pt>
                <c:pt idx="20">
                  <c:v>0.01</c:v>
                </c:pt>
                <c:pt idx="21">
                  <c:v>0.01</c:v>
                </c:pt>
                <c:pt idx="22">
                  <c:v>0.01</c:v>
                </c:pt>
                <c:pt idx="23">
                  <c:v>0.0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39E4-4BA1-A86C-A193A1F4BE25}"/>
            </c:ext>
          </c:extLst>
        </c:ser>
        <c:ser>
          <c:idx val="2"/>
          <c:order val="1"/>
          <c:tx>
            <c:strRef>
              <c:f>Sheet2!$H$36</c:f>
              <c:strCache>
                <c:ptCount val="1"/>
                <c:pt idx="0">
                  <c:v>Wind</c:v>
                </c:pt>
              </c:strCache>
            </c:strRef>
          </c:tx>
          <c:spPr>
            <a:ln w="31750">
              <a:solidFill>
                <a:schemeClr val="accent5"/>
              </a:solidFill>
            </a:ln>
          </c:spPr>
          <c:marker>
            <c:symbol val="none"/>
          </c:marker>
          <c:xVal>
            <c:numRef>
              <c:f>Sheet2!$B$37:$B$60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xVal>
          <c:yVal>
            <c:numRef>
              <c:f>Sheet2!$H$37:$H$60</c:f>
              <c:numCache>
                <c:formatCode>0.00</c:formatCode>
                <c:ptCount val="24"/>
                <c:pt idx="0">
                  <c:v>1.3890019419999995</c:v>
                </c:pt>
                <c:pt idx="1">
                  <c:v>1.8974488479999987</c:v>
                </c:pt>
                <c:pt idx="2">
                  <c:v>2.007662098</c:v>
                </c:pt>
                <c:pt idx="3">
                  <c:v>1.8872621919999861</c:v>
                </c:pt>
                <c:pt idx="4">
                  <c:v>1.4014487499999813</c:v>
                </c:pt>
                <c:pt idx="5">
                  <c:v>0.9</c:v>
                </c:pt>
                <c:pt idx="6">
                  <c:v>0.56700482719999989</c:v>
                </c:pt>
                <c:pt idx="7">
                  <c:v>0.45726732320000019</c:v>
                </c:pt>
                <c:pt idx="8">
                  <c:v>0.36902230720000029</c:v>
                </c:pt>
                <c:pt idx="9">
                  <c:v>0.29838200000000059</c:v>
                </c:pt>
                <c:pt idx="10">
                  <c:v>0.24218493919999995</c:v>
                </c:pt>
                <c:pt idx="11">
                  <c:v>0.19799597920000034</c:v>
                </c:pt>
                <c:pt idx="12">
                  <c:v>0.16410629119999998</c:v>
                </c:pt>
                <c:pt idx="13">
                  <c:v>0.13953336319999954</c:v>
                </c:pt>
                <c:pt idx="14">
                  <c:v>0.12402100000000038</c:v>
                </c:pt>
                <c:pt idx="15">
                  <c:v>0.11803932320000099</c:v>
                </c:pt>
                <c:pt idx="16">
                  <c:v>0.12278477120000053</c:v>
                </c:pt>
                <c:pt idx="17">
                  <c:v>0.14018009919999974</c:v>
                </c:pt>
                <c:pt idx="18">
                  <c:v>0.17287437920000093</c:v>
                </c:pt>
                <c:pt idx="19">
                  <c:v>0.22424300000000263</c:v>
                </c:pt>
                <c:pt idx="20">
                  <c:v>0.29838766720000143</c:v>
                </c:pt>
                <c:pt idx="21">
                  <c:v>0.40013640320000077</c:v>
                </c:pt>
                <c:pt idx="22">
                  <c:v>0.6</c:v>
                </c:pt>
                <c:pt idx="23">
                  <c:v>0.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39E4-4BA1-A86C-A193A1F4BE25}"/>
            </c:ext>
          </c:extLst>
        </c:ser>
        <c:ser>
          <c:idx val="1"/>
          <c:order val="2"/>
          <c:tx>
            <c:strRef>
              <c:f>Sheet2!$G$36</c:f>
              <c:strCache>
                <c:ptCount val="1"/>
                <c:pt idx="0">
                  <c:v>Demand</c:v>
                </c:pt>
              </c:strCache>
            </c:strRef>
          </c:tx>
          <c:spPr>
            <a:ln w="31750">
              <a:solidFill>
                <a:schemeClr val="tx1">
                  <a:lumMod val="65000"/>
                  <a:lumOff val="35000"/>
                </a:schemeClr>
              </a:solidFill>
            </a:ln>
          </c:spPr>
          <c:marker>
            <c:symbol val="none"/>
          </c:marker>
          <c:xVal>
            <c:numRef>
              <c:f>Sheet2!$B$37:$B$60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xVal>
          <c:yVal>
            <c:numRef>
              <c:f>Sheet2!$G$37:$G$60</c:f>
              <c:numCache>
                <c:formatCode>0.00</c:formatCode>
                <c:ptCount val="24"/>
                <c:pt idx="0">
                  <c:v>0.22</c:v>
                </c:pt>
                <c:pt idx="1">
                  <c:v>0.44097785087999952</c:v>
                </c:pt>
                <c:pt idx="2">
                  <c:v>0.68191428087999961</c:v>
                </c:pt>
                <c:pt idx="3">
                  <c:v>1.1153504115199993</c:v>
                </c:pt>
                <c:pt idx="4">
                  <c:v>1.5024191249999972</c:v>
                </c:pt>
                <c:pt idx="5">
                  <c:v>1.7265138611200022</c:v>
                </c:pt>
                <c:pt idx="6">
                  <c:v>1.7598345180799924</c:v>
                </c:pt>
                <c:pt idx="7">
                  <c:v>1.6340185036799908</c:v>
                </c:pt>
                <c:pt idx="8">
                  <c:v>1.4148569369199904</c:v>
                </c:pt>
                <c:pt idx="9">
                  <c:v>1.1810959999999873</c:v>
                </c:pt>
                <c:pt idx="10">
                  <c:v>1.0073234407200018</c:v>
                </c:pt>
                <c:pt idx="11">
                  <c:v>0.95094022528001565</c:v>
                </c:pt>
                <c:pt idx="12">
                  <c:v>1.0432173414799606</c:v>
                </c:pt>
                <c:pt idx="13">
                  <c:v>1.2844377523200179</c:v>
                </c:pt>
                <c:pt idx="14">
                  <c:v>1.6431235000000242</c:v>
                </c:pt>
                <c:pt idx="15">
                  <c:v>2.0593479603199696</c:v>
                </c:pt>
                <c:pt idx="16">
                  <c:v>2.4521332474800572</c:v>
                </c:pt>
                <c:pt idx="17">
                  <c:v>2.7309327692798759</c:v>
                </c:pt>
                <c:pt idx="18">
                  <c:v>2.8111989327198059</c:v>
                </c:pt>
                <c:pt idx="19">
                  <c:v>2.6340359999998753</c:v>
                </c:pt>
                <c:pt idx="20">
                  <c:v>2.1899380949201244</c:v>
                </c:pt>
                <c:pt idx="21">
                  <c:v>1.5466123596799277</c:v>
                </c:pt>
                <c:pt idx="22">
                  <c:v>0.88088726207957668</c:v>
                </c:pt>
                <c:pt idx="23">
                  <c:v>0.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39E4-4BA1-A86C-A193A1F4BE25}"/>
            </c:ext>
          </c:extLst>
        </c:ser>
        <c:ser>
          <c:idx val="3"/>
          <c:order val="3"/>
          <c:tx>
            <c:v>x</c:v>
          </c:tx>
          <c:spPr>
            <a:ln w="31750">
              <a:solidFill>
                <a:srgbClr val="FFC000"/>
              </a:solidFill>
            </a:ln>
          </c:spPr>
          <c:marker>
            <c:symbol val="none"/>
          </c:marker>
          <c:xVal>
            <c:numRef>
              <c:f>Sheet2!$B$43:$B$44</c:f>
              <c:numCache>
                <c:formatCode>General</c:formatCode>
                <c:ptCount val="2"/>
                <c:pt idx="0">
                  <c:v>7</c:v>
                </c:pt>
                <c:pt idx="1">
                  <c:v>8</c:v>
                </c:pt>
              </c:numCache>
            </c:numRef>
          </c:xVal>
          <c:yVal>
            <c:numRef>
              <c:f>Sheet2!$F$43:$F$44</c:f>
              <c:numCache>
                <c:formatCode>0.00</c:formatCode>
                <c:ptCount val="2"/>
                <c:pt idx="0">
                  <c:v>0.01</c:v>
                </c:pt>
                <c:pt idx="1">
                  <c:v>0.0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39E4-4BA1-A86C-A193A1F4BE25}"/>
            </c:ext>
          </c:extLst>
        </c:ser>
        <c:ser>
          <c:idx val="4"/>
          <c:order val="4"/>
          <c:tx>
            <c:v>y</c:v>
          </c:tx>
          <c:spPr>
            <a:ln w="31750">
              <a:solidFill>
                <a:srgbClr val="FFC000"/>
              </a:solidFill>
            </a:ln>
          </c:spPr>
          <c:marker>
            <c:symbol val="none"/>
          </c:marker>
          <c:xVal>
            <c:numRef>
              <c:f>Sheet2!$B$54:$B$55</c:f>
              <c:numCache>
                <c:formatCode>General</c:formatCode>
                <c:ptCount val="2"/>
                <c:pt idx="0">
                  <c:v>18</c:v>
                </c:pt>
                <c:pt idx="1">
                  <c:v>19</c:v>
                </c:pt>
              </c:numCache>
            </c:numRef>
          </c:xVal>
          <c:yVal>
            <c:numRef>
              <c:f>Sheet2!$F$54:$F$55</c:f>
              <c:numCache>
                <c:formatCode>0.00</c:formatCode>
                <c:ptCount val="2"/>
                <c:pt idx="0">
                  <c:v>0.01</c:v>
                </c:pt>
                <c:pt idx="1">
                  <c:v>0.0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39E4-4BA1-A86C-A193A1F4BE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7241216"/>
        <c:axId val="277247488"/>
      </c:scatterChart>
      <c:valAx>
        <c:axId val="277241216"/>
        <c:scaling>
          <c:orientation val="minMax"/>
          <c:max val="24"/>
          <c:min val="1"/>
        </c:scaling>
        <c:delete val="0"/>
        <c:axPos val="b"/>
        <c:title>
          <c:tx>
            <c:rich>
              <a:bodyPr/>
              <a:lstStyle/>
              <a:p>
                <a:pPr>
                  <a:defRPr sz="1100" b="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r>
                  <a:rPr lang="en-US" sz="1100" b="0">
                    <a:latin typeface="Arial" panose="020B0604020202020204" pitchFamily="34" charset="0"/>
                    <a:cs typeface="Arial" panose="020B0604020202020204" pitchFamily="34" charset="0"/>
                  </a:rPr>
                  <a:t>Time of the Day (hour)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277247488"/>
        <c:crosses val="autoZero"/>
        <c:crossBetween val="midCat"/>
        <c:majorUnit val="1"/>
      </c:valAx>
      <c:valAx>
        <c:axId val="277247488"/>
        <c:scaling>
          <c:orientation val="minMax"/>
          <c:min val="0"/>
        </c:scaling>
        <c:delete val="1"/>
        <c:axPos val="l"/>
        <c:title>
          <c:tx>
            <c:rich>
              <a:bodyPr rot="-5400000" vert="horz"/>
              <a:lstStyle/>
              <a:p>
                <a:pPr>
                  <a:defRPr sz="1100" b="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r>
                  <a:rPr lang="en-US" sz="1100" b="0" dirty="0">
                    <a:latin typeface="Arial" panose="020B0604020202020204" pitchFamily="34" charset="0"/>
                    <a:cs typeface="Arial" panose="020B0604020202020204" pitchFamily="34" charset="0"/>
                  </a:rPr>
                  <a:t>Megawatts</a:t>
                </a:r>
              </a:p>
            </c:rich>
          </c:tx>
          <c:layout>
            <c:manualLayout>
              <c:xMode val="edge"/>
              <c:yMode val="edge"/>
              <c:x val="1.7392168554959252E-2"/>
              <c:y val="0.28477961152688736"/>
            </c:manualLayout>
          </c:layout>
          <c:overlay val="0"/>
        </c:title>
        <c:numFmt formatCode="0.00" sourceLinked="1"/>
        <c:majorTickMark val="out"/>
        <c:minorTickMark val="none"/>
        <c:tickLblPos val="nextTo"/>
        <c:crossAx val="277241216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>
          <a:latin typeface="Siemens Sans" pitchFamily="2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1"/>
          <c:order val="0"/>
          <c:tx>
            <c:strRef>
              <c:f>Sheet2!$G$36</c:f>
              <c:strCache>
                <c:ptCount val="1"/>
                <c:pt idx="0">
                  <c:v>Demand</c:v>
                </c:pt>
              </c:strCache>
            </c:strRef>
          </c:tx>
          <c:spPr>
            <a:ln w="38100">
              <a:solidFill>
                <a:schemeClr val="tx1">
                  <a:lumMod val="65000"/>
                  <a:lumOff val="35000"/>
                </a:schemeClr>
              </a:solidFill>
            </a:ln>
          </c:spPr>
          <c:marker>
            <c:symbol val="none"/>
          </c:marker>
          <c:xVal>
            <c:numRef>
              <c:f>Sheet2!$B$37:$B$60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xVal>
          <c:yVal>
            <c:numRef>
              <c:f>Sheet2!$G$37:$G$60</c:f>
              <c:numCache>
                <c:formatCode>0.00</c:formatCode>
                <c:ptCount val="24"/>
                <c:pt idx="0">
                  <c:v>0.22</c:v>
                </c:pt>
                <c:pt idx="1">
                  <c:v>0.44097785087999952</c:v>
                </c:pt>
                <c:pt idx="2">
                  <c:v>0.68191428087999961</c:v>
                </c:pt>
                <c:pt idx="3">
                  <c:v>1.1153504115199993</c:v>
                </c:pt>
                <c:pt idx="4">
                  <c:v>1.5024191249999972</c:v>
                </c:pt>
                <c:pt idx="5">
                  <c:v>1.7265138611200022</c:v>
                </c:pt>
                <c:pt idx="6">
                  <c:v>1.7598345180799924</c:v>
                </c:pt>
                <c:pt idx="7">
                  <c:v>1.6340185036799908</c:v>
                </c:pt>
                <c:pt idx="8">
                  <c:v>1.4148569369199904</c:v>
                </c:pt>
                <c:pt idx="9">
                  <c:v>1.1810959999999873</c:v>
                </c:pt>
                <c:pt idx="10">
                  <c:v>1.0073234407200018</c:v>
                </c:pt>
                <c:pt idx="11">
                  <c:v>0.95094022528001565</c:v>
                </c:pt>
                <c:pt idx="12">
                  <c:v>1.0432173414799606</c:v>
                </c:pt>
                <c:pt idx="13">
                  <c:v>1.2844377523200179</c:v>
                </c:pt>
                <c:pt idx="14">
                  <c:v>1.6431235000000242</c:v>
                </c:pt>
                <c:pt idx="15">
                  <c:v>2.0593479603199696</c:v>
                </c:pt>
                <c:pt idx="16">
                  <c:v>2.4521332474800572</c:v>
                </c:pt>
                <c:pt idx="17">
                  <c:v>2.7309327692798759</c:v>
                </c:pt>
                <c:pt idx="18">
                  <c:v>2.8111989327198059</c:v>
                </c:pt>
                <c:pt idx="19">
                  <c:v>2.6340359999998753</c:v>
                </c:pt>
                <c:pt idx="20">
                  <c:v>2.1899380949201244</c:v>
                </c:pt>
                <c:pt idx="21">
                  <c:v>1.5466123596799277</c:v>
                </c:pt>
                <c:pt idx="22">
                  <c:v>0.88088726207957668</c:v>
                </c:pt>
                <c:pt idx="23">
                  <c:v>0.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CF19-4A1C-AD04-D80677DB8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7257600"/>
        <c:axId val="277280256"/>
      </c:scatterChart>
      <c:valAx>
        <c:axId val="277257600"/>
        <c:scaling>
          <c:orientation val="minMax"/>
          <c:max val="24"/>
          <c:min val="1"/>
        </c:scaling>
        <c:delete val="0"/>
        <c:axPos val="b"/>
        <c:title>
          <c:tx>
            <c:rich>
              <a:bodyPr/>
              <a:lstStyle/>
              <a:p>
                <a:pPr>
                  <a:defRPr sz="1100" b="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r>
                  <a:rPr lang="en-US" sz="1100" b="0" dirty="0">
                    <a:latin typeface="Arial" panose="020B0604020202020204" pitchFamily="34" charset="0"/>
                    <a:cs typeface="Arial" panose="020B0604020202020204" pitchFamily="34" charset="0"/>
                  </a:rPr>
                  <a:t>Time of the Day (hour)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277280256"/>
        <c:crosses val="autoZero"/>
        <c:crossBetween val="midCat"/>
        <c:majorUnit val="1"/>
      </c:valAx>
      <c:valAx>
        <c:axId val="277280256"/>
        <c:scaling>
          <c:orientation val="minMax"/>
          <c:min val="0"/>
        </c:scaling>
        <c:delete val="1"/>
        <c:axPos val="l"/>
        <c:title>
          <c:tx>
            <c:rich>
              <a:bodyPr rot="-5400000" vert="horz"/>
              <a:lstStyle/>
              <a:p>
                <a:pPr>
                  <a:defRPr sz="1100" b="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r>
                  <a:rPr lang="en-US" sz="1100" b="0" dirty="0">
                    <a:latin typeface="Arial" panose="020B0604020202020204" pitchFamily="34" charset="0"/>
                    <a:cs typeface="Arial" panose="020B0604020202020204" pitchFamily="34" charset="0"/>
                  </a:rPr>
                  <a:t>Megawatts</a:t>
                </a:r>
              </a:p>
            </c:rich>
          </c:tx>
          <c:overlay val="0"/>
        </c:title>
        <c:numFmt formatCode="0.00" sourceLinked="1"/>
        <c:majorTickMark val="out"/>
        <c:minorTickMark val="none"/>
        <c:tickLblPos val="nextTo"/>
        <c:crossAx val="277257600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>
          <a:latin typeface="Siemens Sans" pitchFamily="2" charset="0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2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2826" tIns="46413" rIns="92826" bIns="4641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3251066" cy="552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0801" tIns="150801" rIns="150801" bIns="150801" numCol="1" anchor="t" anchorCtr="0" compatLnSpc="1">
            <a:prstTxWarp prst="textNoShape">
              <a:avLst/>
            </a:prstTxWarp>
          </a:bodyPr>
          <a:lstStyle>
            <a:lvl1pPr defTabSz="95726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3" y="2"/>
            <a:ext cx="3251065" cy="552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0801" tIns="150801" rIns="150801" bIns="150801" numCol="1" anchor="t" anchorCtr="0" compatLnSpc="1">
            <a:prstTxWarp prst="textNoShape">
              <a:avLst/>
            </a:prstTxWarp>
          </a:bodyPr>
          <a:lstStyle>
            <a:lvl1pPr algn="r" defTabSz="95726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682166"/>
            <a:ext cx="3251066" cy="552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0801" tIns="150801" rIns="150801" bIns="150801" numCol="1" anchor="b" anchorCtr="0" compatLnSpc="1">
            <a:prstTxWarp prst="textNoShape">
              <a:avLst/>
            </a:prstTxWarp>
          </a:bodyPr>
          <a:lstStyle>
            <a:lvl1pPr defTabSz="95726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3" y="9682166"/>
            <a:ext cx="3251065" cy="552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0801" tIns="150801" rIns="150801" bIns="150801" numCol="1" anchor="b" anchorCtr="0" compatLnSpc="1">
            <a:prstTxWarp prst="textNoShape">
              <a:avLst/>
            </a:prstTxWarp>
          </a:bodyPr>
          <a:lstStyle>
            <a:lvl1pPr algn="r" defTabSz="95726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3251066" cy="552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0801" tIns="150801" rIns="150801" bIns="150801" numCol="1" anchor="t" anchorCtr="0" compatLnSpc="1">
            <a:prstTxWarp prst="textNoShape">
              <a:avLst/>
            </a:prstTxWarp>
          </a:bodyPr>
          <a:lstStyle>
            <a:lvl1pPr defTabSz="95726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2" y="2"/>
            <a:ext cx="3249478" cy="552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0801" tIns="150801" rIns="150801" bIns="150801" numCol="1" anchor="t" anchorCtr="0" compatLnSpc="1">
            <a:prstTxWarp prst="textNoShape">
              <a:avLst/>
            </a:prstTxWarp>
          </a:bodyPr>
          <a:lstStyle>
            <a:lvl1pPr algn="r" defTabSz="95726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3" y="4822826"/>
            <a:ext cx="6626013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682165"/>
            <a:ext cx="3251066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0801" tIns="150801" rIns="150801" bIns="150801" numCol="1" anchor="b" anchorCtr="0" compatLnSpc="1">
            <a:prstTxWarp prst="textNoShape">
              <a:avLst/>
            </a:prstTxWarp>
          </a:bodyPr>
          <a:lstStyle>
            <a:lvl1pPr defTabSz="95726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2" y="9682165"/>
            <a:ext cx="3249478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0801" tIns="150801" rIns="150801" bIns="150801" numCol="1" anchor="b" anchorCtr="0" compatLnSpc="1">
            <a:prstTxWarp prst="textNoShape">
              <a:avLst/>
            </a:prstTxWarp>
          </a:bodyPr>
          <a:lstStyle>
            <a:lvl1pPr algn="r" defTabSz="95726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342548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685098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027644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370195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1712743" algn="l" defTabSz="34254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5290" algn="l" defTabSz="34254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7841" algn="l" defTabSz="34254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0388" algn="l" defTabSz="34254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011" indent="-284237" algn="l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6940" indent="-227390" algn="l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1712" indent="-227390" algn="l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46489" indent="-227390" algn="l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01264" indent="-22739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56039" indent="-22739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10814" indent="-22739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65591" indent="-22739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r>
              <a:rPr lang="de-DE" altLang="de-DE">
                <a:solidFill>
                  <a:prstClr val="black"/>
                </a:solidFill>
                <a:cs typeface="Arial Unicode MS" pitchFamily="34" charset="-128"/>
              </a:rPr>
              <a:t>Notizen </a:t>
            </a:r>
            <a:fld id="{3AE1C0F4-5216-4B45-B178-F94CDBA7BDB4}" type="slidenum">
              <a:rPr lang="de-DE" altLang="de-DE" smtClean="0">
                <a:solidFill>
                  <a:prstClr val="black"/>
                </a:solidFill>
                <a:cs typeface="Arial Unicode MS" pitchFamily="34" charset="-128"/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de-DE" altLang="de-DE">
              <a:solidFill>
                <a:prstClr val="black"/>
              </a:solidFill>
              <a:cs typeface="Arial Unicode MS" pitchFamily="34" charset="-128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4663" cy="3836988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450412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7857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customXml" Target="../../customXml/item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.xml"/><Relationship Id="rId7" Type="http://schemas.openxmlformats.org/officeDocument/2006/relationships/oleObject" Target="../embeddings/oleObject2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5929" tIns="431675" rIns="2122408" bIns="233824" numCol="1" anchor="t" anchorCtr="0" compatLnSpc="1">
            <a:prstTxWarp prst="textNoShape">
              <a:avLst/>
            </a:prstTxWarp>
          </a:bodyPr>
          <a:lstStyle>
            <a:lvl1pPr marL="0" marR="0" indent="0" algn="l" defTabSz="9137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7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4" y="323851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EEEDD8-E099-45F5-B542-775748A8BB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EEEDD8-E099-45F5-B542-775748A8B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D3EBC22-DB40-4920-A574-769522E5A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777" cy="21166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4397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8" name="Grafik 5">
            <a:extLst>
              <a:ext uri="{FF2B5EF4-FFF2-40B4-BE49-F238E27FC236}">
                <a16:creationId xmlns:a16="http://schemas.microsoft.com/office/drawing/2014/main" id="{0421C17A-56CD-44E4-815C-FF7FBA4E61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7628" y="-122648"/>
            <a:ext cx="12312698" cy="699132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2" y="3463529"/>
            <a:ext cx="6480000" cy="2338968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7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1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2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confidentiality</a:t>
            </a:r>
            <a:r>
              <a:rPr lang="de-DE" dirty="0"/>
              <a:t> </a:t>
            </a:r>
            <a:r>
              <a:rPr lang="de-DE" dirty="0" err="1"/>
              <a:t>note</a:t>
            </a:r>
            <a:endParaRPr lang="de-DE" dirty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5998" y="-216000"/>
            <a:ext cx="12628799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83" name="Group 33">
            <a:extLst>
              <a:ext uri="{FF2B5EF4-FFF2-40B4-BE49-F238E27FC236}">
                <a16:creationId xmlns:a16="http://schemas.microsoft.com/office/drawing/2014/main" id="{53D4B460-F1E9-45F0-B03D-36732E75339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7317" y="332887"/>
            <a:ext cx="2159000" cy="914400"/>
            <a:chOff x="6019" y="204"/>
            <a:chExt cx="1360" cy="576"/>
          </a:xfrm>
        </p:grpSpPr>
        <p:sp>
          <p:nvSpPr>
            <p:cNvPr id="84" name="AutoShape 32">
              <a:extLst>
                <a:ext uri="{FF2B5EF4-FFF2-40B4-BE49-F238E27FC236}">
                  <a16:creationId xmlns:a16="http://schemas.microsoft.com/office/drawing/2014/main" id="{FF140EAD-81A1-4A57-B3CD-50C8BFC67D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5" name="Rectangle 34">
              <a:extLst>
                <a:ext uri="{FF2B5EF4-FFF2-40B4-BE49-F238E27FC236}">
                  <a16:creationId xmlns:a16="http://schemas.microsoft.com/office/drawing/2014/main" id="{624BBE96-4A98-4915-9BB8-94B53A1ED6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6" name="Freeform 35">
              <a:extLst>
                <a:ext uri="{FF2B5EF4-FFF2-40B4-BE49-F238E27FC236}">
                  <a16:creationId xmlns:a16="http://schemas.microsoft.com/office/drawing/2014/main" id="{EE6AD256-4C6D-452D-9228-E687C68E52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7" name="Freeform 36">
              <a:extLst>
                <a:ext uri="{FF2B5EF4-FFF2-40B4-BE49-F238E27FC236}">
                  <a16:creationId xmlns:a16="http://schemas.microsoft.com/office/drawing/2014/main" id="{FFAD8854-F59E-4C15-AE83-EC416707E6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8" name="Freeform 37">
              <a:extLst>
                <a:ext uri="{FF2B5EF4-FFF2-40B4-BE49-F238E27FC236}">
                  <a16:creationId xmlns:a16="http://schemas.microsoft.com/office/drawing/2014/main" id="{E65738DB-AA71-4738-90EF-76E7A8E94B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9" name="Freeform 38">
              <a:extLst>
                <a:ext uri="{FF2B5EF4-FFF2-40B4-BE49-F238E27FC236}">
                  <a16:creationId xmlns:a16="http://schemas.microsoft.com/office/drawing/2014/main" id="{EA86C96C-340D-463F-950F-D915A5E0B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0" name="Freeform 39">
              <a:extLst>
                <a:ext uri="{FF2B5EF4-FFF2-40B4-BE49-F238E27FC236}">
                  <a16:creationId xmlns:a16="http://schemas.microsoft.com/office/drawing/2014/main" id="{66E491F2-921A-4E44-9947-E3E4F2635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1" name="Freeform 40">
              <a:extLst>
                <a:ext uri="{FF2B5EF4-FFF2-40B4-BE49-F238E27FC236}">
                  <a16:creationId xmlns:a16="http://schemas.microsoft.com/office/drawing/2014/main" id="{F8A76569-A81E-48B3-BFEB-016F97B6E5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2" name="Freeform 41">
              <a:extLst>
                <a:ext uri="{FF2B5EF4-FFF2-40B4-BE49-F238E27FC236}">
                  <a16:creationId xmlns:a16="http://schemas.microsoft.com/office/drawing/2014/main" id="{20B728A7-7478-4D8A-9F3B-D599F6778A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3" name="Freeform 42">
              <a:extLst>
                <a:ext uri="{FF2B5EF4-FFF2-40B4-BE49-F238E27FC236}">
                  <a16:creationId xmlns:a16="http://schemas.microsoft.com/office/drawing/2014/main" id="{87A65FDC-C9DE-4BB6-BAA2-58FEA36707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4" name="Freeform 43">
              <a:extLst>
                <a:ext uri="{FF2B5EF4-FFF2-40B4-BE49-F238E27FC236}">
                  <a16:creationId xmlns:a16="http://schemas.microsoft.com/office/drawing/2014/main" id="{051C2EE3-E577-492F-B4CB-688C31B5E3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5" name="Freeform 44">
              <a:extLst>
                <a:ext uri="{FF2B5EF4-FFF2-40B4-BE49-F238E27FC236}">
                  <a16:creationId xmlns:a16="http://schemas.microsoft.com/office/drawing/2014/main" id="{54B6B77B-503D-4AF4-BD6C-2D7627E340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6" name="Freeform 45">
              <a:extLst>
                <a:ext uri="{FF2B5EF4-FFF2-40B4-BE49-F238E27FC236}">
                  <a16:creationId xmlns:a16="http://schemas.microsoft.com/office/drawing/2014/main" id="{9CEE806F-51B0-4805-8D6A-FD6ACD26E0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7" name="Freeform 46">
              <a:extLst>
                <a:ext uri="{FF2B5EF4-FFF2-40B4-BE49-F238E27FC236}">
                  <a16:creationId xmlns:a16="http://schemas.microsoft.com/office/drawing/2014/main" id="{ED7C5C04-F466-4004-BF42-F79150A281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8" name="Freeform 47">
              <a:extLst>
                <a:ext uri="{FF2B5EF4-FFF2-40B4-BE49-F238E27FC236}">
                  <a16:creationId xmlns:a16="http://schemas.microsoft.com/office/drawing/2014/main" id="{8B5ADCDB-81A1-4BB2-8A26-850A566ACA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9" name="Freeform 48">
              <a:extLst>
                <a:ext uri="{FF2B5EF4-FFF2-40B4-BE49-F238E27FC236}">
                  <a16:creationId xmlns:a16="http://schemas.microsoft.com/office/drawing/2014/main" id="{C92AB697-171B-44F1-9235-551C5AFC12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0" name="Freeform 49">
              <a:extLst>
                <a:ext uri="{FF2B5EF4-FFF2-40B4-BE49-F238E27FC236}">
                  <a16:creationId xmlns:a16="http://schemas.microsoft.com/office/drawing/2014/main" id="{3569931D-6457-449F-97D7-A61D50E425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1" name="Freeform 50">
              <a:extLst>
                <a:ext uri="{FF2B5EF4-FFF2-40B4-BE49-F238E27FC236}">
                  <a16:creationId xmlns:a16="http://schemas.microsoft.com/office/drawing/2014/main" id="{D2AA8348-E756-45DF-832F-37BE9C165E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2" name="Freeform 51">
              <a:extLst>
                <a:ext uri="{FF2B5EF4-FFF2-40B4-BE49-F238E27FC236}">
                  <a16:creationId xmlns:a16="http://schemas.microsoft.com/office/drawing/2014/main" id="{36896CA2-818D-4A21-A2D7-54EC842A4A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3" name="Freeform 52">
              <a:extLst>
                <a:ext uri="{FF2B5EF4-FFF2-40B4-BE49-F238E27FC236}">
                  <a16:creationId xmlns:a16="http://schemas.microsoft.com/office/drawing/2014/main" id="{73AAA30B-6927-4A00-9BAD-B6EB41530B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4" name="Freeform 53">
              <a:extLst>
                <a:ext uri="{FF2B5EF4-FFF2-40B4-BE49-F238E27FC236}">
                  <a16:creationId xmlns:a16="http://schemas.microsoft.com/office/drawing/2014/main" id="{2D51E226-A443-470B-8B36-9025704BC2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5" name="Freeform 54">
              <a:extLst>
                <a:ext uri="{FF2B5EF4-FFF2-40B4-BE49-F238E27FC236}">
                  <a16:creationId xmlns:a16="http://schemas.microsoft.com/office/drawing/2014/main" id="{8393D2E3-4AF2-4447-AA2A-9ABA7010A0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6" name="Freeform 55">
              <a:extLst>
                <a:ext uri="{FF2B5EF4-FFF2-40B4-BE49-F238E27FC236}">
                  <a16:creationId xmlns:a16="http://schemas.microsoft.com/office/drawing/2014/main" id="{32196145-A024-4B81-AC32-70EBEDBEE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7" name="Freeform 56">
              <a:extLst>
                <a:ext uri="{FF2B5EF4-FFF2-40B4-BE49-F238E27FC236}">
                  <a16:creationId xmlns:a16="http://schemas.microsoft.com/office/drawing/2014/main" id="{BA1B04B7-2912-4943-9CA0-59E5F8BA1D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8" name="Freeform 57">
              <a:extLst>
                <a:ext uri="{FF2B5EF4-FFF2-40B4-BE49-F238E27FC236}">
                  <a16:creationId xmlns:a16="http://schemas.microsoft.com/office/drawing/2014/main" id="{31329A7D-16CC-4815-B789-A71306F4EE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9" name="Freeform 58">
              <a:extLst>
                <a:ext uri="{FF2B5EF4-FFF2-40B4-BE49-F238E27FC236}">
                  <a16:creationId xmlns:a16="http://schemas.microsoft.com/office/drawing/2014/main" id="{61C04DE2-B3B7-409A-9539-9D0242EE7A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0" name="Freeform 59">
              <a:extLst>
                <a:ext uri="{FF2B5EF4-FFF2-40B4-BE49-F238E27FC236}">
                  <a16:creationId xmlns:a16="http://schemas.microsoft.com/office/drawing/2014/main" id="{C68CED9C-57E3-4AE6-9F64-854A83A667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18785962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oleObject" Target="../embeddings/oleObject1.bin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14098573"/>
              </p:ext>
            </p:extLst>
          </p:nvPr>
        </p:nvGraphicFramePr>
        <p:xfrm>
          <a:off x="2120" y="2119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8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5929" tIns="431675" rIns="2744736" bIns="2338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627070" y="1441451"/>
            <a:ext cx="8208963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cdtTextBox 11 Id18"/>
          <p:cNvSpPr txBox="1"/>
          <p:nvPr>
            <p:custDataLst>
              <p:tags r:id="rId31"/>
            </p:custDataLst>
          </p:nvPr>
        </p:nvSpPr>
        <p:spPr>
          <a:xfrm>
            <a:off x="0" y="6597657"/>
            <a:ext cx="1765286" cy="260351"/>
          </a:xfrm>
          <a:prstGeom prst="rect">
            <a:avLst/>
          </a:prstGeom>
          <a:noFill/>
        </p:spPr>
        <p:txBody>
          <a:bodyPr wrap="square" lIns="625929" tIns="0" rIns="0" bIns="115112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9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900" noProof="0" dirty="0">
              <a:solidFill>
                <a:srgbClr val="000000"/>
              </a:solidFill>
            </a:endParaRPr>
          </a:p>
        </p:txBody>
      </p:sp>
      <p:grpSp>
        <p:nvGrpSpPr>
          <p:cNvPr id="67" name="Gruppieren 66"/>
          <p:cNvGrpSpPr/>
          <p:nvPr/>
        </p:nvGrpSpPr>
        <p:grpSpPr>
          <a:xfrm>
            <a:off x="-215992" y="-216000"/>
            <a:ext cx="12628799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54" r:id="rId2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100" b="1">
          <a:solidFill>
            <a:srgbClr val="00646E"/>
          </a:solidFill>
          <a:latin typeface="+mn-lt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685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3715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057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7429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79252" indent="-177668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58511" indent="-177668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37757" indent="-177668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717012" indent="-177668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219873" indent="-18876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6728" indent="-18876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3587" indent="-18876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0443" indent="-18876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7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56" algn="l" defTabSz="9137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15" algn="l" defTabSz="9137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70" algn="l" defTabSz="9137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29" algn="l" defTabSz="9137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85" algn="l" defTabSz="9137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42" algn="l" defTabSz="9137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999" algn="l" defTabSz="9137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55" algn="l" defTabSz="9137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microsoft.com/office/2007/relationships/hdphoto" Target="../media/hdphoto1.wdp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26" Type="http://schemas.openxmlformats.org/officeDocument/2006/relationships/tags" Target="../tags/tag61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tags" Target="../tags/tag60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29" Type="http://schemas.openxmlformats.org/officeDocument/2006/relationships/notesSlide" Target="../notesSlides/notesSlide1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tags" Target="../tags/tag59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28" Type="http://schemas.openxmlformats.org/officeDocument/2006/relationships/slideLayout" Target="../slideLayouts/slideLayout1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tags" Target="../tags/tag6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microsoft.com/office/2007/relationships/hdphoto" Target="../media/hdphoto5.wdp"/><Relationship Id="rId18" Type="http://schemas.openxmlformats.org/officeDocument/2006/relationships/image" Target="../media/image21.png"/><Relationship Id="rId26" Type="http://schemas.openxmlformats.org/officeDocument/2006/relationships/image" Target="../media/image25.png"/><Relationship Id="rId3" Type="http://schemas.openxmlformats.org/officeDocument/2006/relationships/image" Target="../media/image11.png"/><Relationship Id="rId21" Type="http://schemas.microsoft.com/office/2007/relationships/hdphoto" Target="../media/hdphoto9.wdp"/><Relationship Id="rId7" Type="http://schemas.openxmlformats.org/officeDocument/2006/relationships/image" Target="../media/image14.png"/><Relationship Id="rId12" Type="http://schemas.openxmlformats.org/officeDocument/2006/relationships/image" Target="../media/image18.png"/><Relationship Id="rId17" Type="http://schemas.microsoft.com/office/2007/relationships/hdphoto" Target="../media/hdphoto7.wdp"/><Relationship Id="rId25" Type="http://schemas.microsoft.com/office/2007/relationships/hdphoto" Target="../media/hdphoto11.wdp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0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11" Type="http://schemas.openxmlformats.org/officeDocument/2006/relationships/image" Target="../media/image17.png"/><Relationship Id="rId24" Type="http://schemas.openxmlformats.org/officeDocument/2006/relationships/image" Target="../media/image24.png"/><Relationship Id="rId5" Type="http://schemas.openxmlformats.org/officeDocument/2006/relationships/image" Target="../media/image13.png"/><Relationship Id="rId15" Type="http://schemas.microsoft.com/office/2007/relationships/hdphoto" Target="../media/hdphoto6.wdp"/><Relationship Id="rId23" Type="http://schemas.microsoft.com/office/2007/relationships/hdphoto" Target="../media/hdphoto10.wdp"/><Relationship Id="rId10" Type="http://schemas.openxmlformats.org/officeDocument/2006/relationships/image" Target="../media/image16.png"/><Relationship Id="rId19" Type="http://schemas.microsoft.com/office/2007/relationships/hdphoto" Target="../media/hdphoto8.wdp"/><Relationship Id="rId4" Type="http://schemas.openxmlformats.org/officeDocument/2006/relationships/image" Target="../media/image12.png"/><Relationship Id="rId9" Type="http://schemas.microsoft.com/office/2007/relationships/hdphoto" Target="../media/hdphoto4.wdp"/><Relationship Id="rId14" Type="http://schemas.openxmlformats.org/officeDocument/2006/relationships/image" Target="../media/image19.png"/><Relationship Id="rId22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6DD0A78-2418-4260-A75E-05C03116C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3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6DD0A78-2418-4260-A75E-05C03116C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63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9225DB8-5ADB-4B8C-9CB8-5A4EB5DEFD9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176" y="1786"/>
            <a:ext cx="158668" cy="15866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US" sz="1867" b="1" dirty="0">
              <a:solidFill>
                <a:srgbClr val="000000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6F0764-D927-470C-82F1-19C3A94536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911" y="3070968"/>
            <a:ext cx="6476627" cy="2730292"/>
          </a:xfrm>
        </p:spPr>
        <p:txBody>
          <a:bodyPr/>
          <a:lstStyle/>
          <a:p>
            <a:r>
              <a:rPr lang="en-US" sz="4000" dirty="0"/>
              <a:t>Power Generation with Integrated Large-Scale Energy Storage</a:t>
            </a:r>
            <a:br>
              <a:rPr lang="en-US" sz="4000" dirty="0"/>
            </a:br>
            <a:r>
              <a:rPr lang="en-US" sz="1867" dirty="0"/>
              <a:t>Juan Lopez</a:t>
            </a:r>
            <a:br>
              <a:rPr lang="en-US" sz="1867" dirty="0"/>
            </a:br>
            <a:r>
              <a:rPr lang="en-US" sz="1867" dirty="0"/>
              <a:t>Director of Solutions Business Development</a:t>
            </a:r>
            <a:endParaRPr lang="de-DE" sz="1799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8138A3-4024-4C4E-9899-739334FA66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iemens.com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7BD234-A0F3-4F00-B6D2-292EAFA242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© Siemens AG 2019</a:t>
            </a:r>
          </a:p>
        </p:txBody>
      </p:sp>
    </p:spTree>
    <p:extLst>
      <p:ext uri="{BB962C8B-B14F-4D97-AF65-F5344CB8AC3E}">
        <p14:creationId xmlns:p14="http://schemas.microsoft.com/office/powerpoint/2010/main" val="38485087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auto">
          <a:xfrm>
            <a:off x="6350131" y="1592796"/>
            <a:ext cx="5184576" cy="32403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07987" tIns="53994" rIns="107987" bIns="53994" numCol="1" spcCol="7199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Flexibility is the only way to future-proof generation</a:t>
            </a:r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3322757942"/>
              </p:ext>
            </p:extLst>
          </p:nvPr>
        </p:nvGraphicFramePr>
        <p:xfrm>
          <a:off x="6423211" y="1736220"/>
          <a:ext cx="5111496" cy="2953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/>
          <p:cNvSpPr/>
          <p:nvPr/>
        </p:nvSpPr>
        <p:spPr bwMode="auto">
          <a:xfrm>
            <a:off x="662570" y="1592796"/>
            <a:ext cx="5184576" cy="32403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07987" tIns="53994" rIns="107987" bIns="53994" numCol="1" spcCol="7199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2932780066"/>
              </p:ext>
            </p:extLst>
          </p:nvPr>
        </p:nvGraphicFramePr>
        <p:xfrm>
          <a:off x="698574" y="1736812"/>
          <a:ext cx="5112568" cy="295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9915599" y="1700808"/>
            <a:ext cx="752811" cy="279744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</p:spPr>
        <p:txBody>
          <a:bodyPr wrap="square" lIns="45714" tIns="45714" rIns="45714" bIns="45714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rPr>
              <a:t>Demand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835479" y="1700808"/>
            <a:ext cx="565598" cy="279744"/>
          </a:xfrm>
          <a:prstGeom prst="rect">
            <a:avLst/>
          </a:prstGeom>
          <a:solidFill>
            <a:srgbClr val="FFB900"/>
          </a:solidFill>
        </p:spPr>
        <p:txBody>
          <a:bodyPr wrap="square" lIns="45714" tIns="45714" rIns="45714" bIns="45714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rPr>
              <a:t>Solar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819255" y="2276873"/>
            <a:ext cx="565598" cy="279744"/>
          </a:xfrm>
          <a:prstGeom prst="rect">
            <a:avLst/>
          </a:prstGeom>
          <a:solidFill>
            <a:srgbClr val="005F87"/>
          </a:solidFill>
        </p:spPr>
        <p:txBody>
          <a:bodyPr wrap="square" lIns="45714" tIns="45714" rIns="45714" bIns="45714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rPr>
              <a:t>Wind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810844" y="2767785"/>
            <a:ext cx="752811" cy="279744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</p:spPr>
        <p:txBody>
          <a:bodyPr wrap="square" lIns="45714" tIns="45714" rIns="45714" bIns="45714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rPr>
              <a:t>Demand</a:t>
            </a:r>
          </a:p>
        </p:txBody>
      </p:sp>
      <p:sp>
        <p:nvSpPr>
          <p:cNvPr id="28" name="Textfeld 26"/>
          <p:cNvSpPr txBox="1"/>
          <p:nvPr/>
        </p:nvSpPr>
        <p:spPr>
          <a:xfrm>
            <a:off x="662570" y="4977172"/>
            <a:ext cx="5184576" cy="1188132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</p:spPr>
        <p:txBody>
          <a:bodyPr wrap="square" lIns="109728" tIns="53994" rIns="109728" bIns="53994" numCol="1" spcCol="71990" rtlCol="0" anchor="ctr">
            <a:noAutofit/>
          </a:bodyPr>
          <a:lstStyle>
            <a:defPPr>
              <a:defRPr lang="de-DE"/>
            </a:defPPr>
            <a:lvl1pPr algn="ctr">
              <a:lnSpc>
                <a:spcPct val="110000"/>
              </a:lnSpc>
              <a:spcBef>
                <a:spcPts val="0"/>
              </a:spcBef>
              <a:defRPr sz="1500" b="0">
                <a:solidFill>
                  <a:schemeClr val="tx2">
                    <a:lumMod val="65000"/>
                    <a:lumOff val="35000"/>
                  </a:schemeClr>
                </a:solidFill>
                <a:cs typeface="Arial" panose="020B0604020202020204" pitchFamily="34" charset="0"/>
              </a:defRPr>
            </a:lvl1pPr>
          </a:lstStyle>
          <a:p>
            <a:pPr algn="l"/>
            <a:r>
              <a:rPr lang="en-US" sz="1800" b="1" dirty="0">
                <a:latin typeface="+mn-lt"/>
              </a:rPr>
              <a:t>Traditionall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Load was relatively predictabl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Renewable integration was limite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Majority of generation from dispatchable units</a:t>
            </a:r>
          </a:p>
        </p:txBody>
      </p:sp>
      <p:sp>
        <p:nvSpPr>
          <p:cNvPr id="29" name="Textfeld 26"/>
          <p:cNvSpPr txBox="1"/>
          <p:nvPr/>
        </p:nvSpPr>
        <p:spPr>
          <a:xfrm>
            <a:off x="6350131" y="4977172"/>
            <a:ext cx="5184576" cy="118872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/>
        </p:spPr>
        <p:txBody>
          <a:bodyPr wrap="square" lIns="107987" tIns="53994" rIns="107987" bIns="53994" numCol="1" spcCol="71990" rtlCol="0" anchor="ctr">
            <a:noAutofit/>
          </a:bodyPr>
          <a:lstStyle>
            <a:defPPr>
              <a:defRPr lang="de-DE"/>
            </a:defPPr>
            <a:lvl1pPr algn="ctr">
              <a:lnSpc>
                <a:spcPct val="110000"/>
              </a:lnSpc>
              <a:spcBef>
                <a:spcPts val="0"/>
              </a:spcBef>
              <a:defRPr sz="20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1800" dirty="0">
                <a:latin typeface="+mn-lt"/>
                <a:cs typeface="Arial" panose="020B0604020202020204" pitchFamily="34" charset="0"/>
              </a:rPr>
              <a:t>Modern grid</a:t>
            </a:r>
          </a:p>
          <a:p>
            <a:pPr marL="285715" indent="-285715" algn="l">
              <a:buFont typeface="Arial" panose="020B0604020202020204" pitchFamily="34" charset="0"/>
              <a:buChar char="•"/>
            </a:pPr>
            <a:r>
              <a:rPr lang="en-US" sz="1600" b="0" dirty="0">
                <a:latin typeface="+mn-lt"/>
                <a:cs typeface="Arial" panose="020B0604020202020204" pitchFamily="34" charset="0"/>
              </a:rPr>
              <a:t>Renewable penetration continues to increase</a:t>
            </a:r>
          </a:p>
          <a:p>
            <a:pPr marL="285715" indent="-285715" algn="l">
              <a:buFont typeface="Arial" panose="020B0604020202020204" pitchFamily="34" charset="0"/>
              <a:buChar char="•"/>
            </a:pPr>
            <a:r>
              <a:rPr lang="en-US" sz="1600" b="0" dirty="0">
                <a:latin typeface="+mn-lt"/>
                <a:cs typeface="Arial" panose="020B0604020202020204" pitchFamily="34" charset="0"/>
              </a:rPr>
              <a:t>Peaks are out of sync</a:t>
            </a:r>
          </a:p>
          <a:p>
            <a:pPr marL="285715" indent="-285715" algn="l">
              <a:buFont typeface="Arial" panose="020B0604020202020204" pitchFamily="34" charset="0"/>
              <a:buChar char="•"/>
            </a:pPr>
            <a:r>
              <a:rPr lang="en-US" sz="1600" b="0" dirty="0">
                <a:latin typeface="+mn-lt"/>
                <a:cs typeface="Arial" panose="020B0604020202020204" pitchFamily="34" charset="0"/>
              </a:rPr>
              <a:t>Fast, flexible resources required to balance grid</a:t>
            </a:r>
          </a:p>
        </p:txBody>
      </p:sp>
      <p:sp>
        <p:nvSpPr>
          <p:cNvPr id="8" name="Freeform 7"/>
          <p:cNvSpPr/>
          <p:nvPr/>
        </p:nvSpPr>
        <p:spPr bwMode="auto">
          <a:xfrm>
            <a:off x="6778305" y="2139052"/>
            <a:ext cx="4555222" cy="369332"/>
          </a:xfrm>
          <a:custGeom>
            <a:avLst/>
            <a:gdLst>
              <a:gd name="connsiteX0" fmla="*/ 0 w 4555222"/>
              <a:gd name="connsiteY0" fmla="*/ 2567656 h 2646394"/>
              <a:gd name="connsiteX1" fmla="*/ 696286 w 4555222"/>
              <a:gd name="connsiteY1" fmla="*/ 1997204 h 2646394"/>
              <a:gd name="connsiteX2" fmla="*/ 973123 w 4555222"/>
              <a:gd name="connsiteY2" fmla="*/ 1091193 h 2646394"/>
              <a:gd name="connsiteX3" fmla="*/ 1166069 w 4555222"/>
              <a:gd name="connsiteY3" fmla="*/ 898246 h 2646394"/>
              <a:gd name="connsiteX4" fmla="*/ 1434517 w 4555222"/>
              <a:gd name="connsiteY4" fmla="*/ 1066026 h 2646394"/>
              <a:gd name="connsiteX5" fmla="*/ 2357306 w 4555222"/>
              <a:gd name="connsiteY5" fmla="*/ 2643156 h 2646394"/>
              <a:gd name="connsiteX6" fmla="*/ 3145871 w 4555222"/>
              <a:gd name="connsiteY6" fmla="*/ 596243 h 2646394"/>
              <a:gd name="connsiteX7" fmla="*/ 3481431 w 4555222"/>
              <a:gd name="connsiteY7" fmla="*/ 59347 h 2646394"/>
              <a:gd name="connsiteX8" fmla="*/ 3724712 w 4555222"/>
              <a:gd name="connsiteY8" fmla="*/ 277461 h 2646394"/>
              <a:gd name="connsiteX9" fmla="*/ 4555222 w 4555222"/>
              <a:gd name="connsiteY9" fmla="*/ 2399876 h 2646394"/>
              <a:gd name="connsiteX0" fmla="*/ 0 w 4555222"/>
              <a:gd name="connsiteY0" fmla="*/ 2567656 h 2646402"/>
              <a:gd name="connsiteX1" fmla="*/ 696286 w 4555222"/>
              <a:gd name="connsiteY1" fmla="*/ 1997204 h 2646402"/>
              <a:gd name="connsiteX2" fmla="*/ 973123 w 4555222"/>
              <a:gd name="connsiteY2" fmla="*/ 1091193 h 2646402"/>
              <a:gd name="connsiteX3" fmla="*/ 1166069 w 4555222"/>
              <a:gd name="connsiteY3" fmla="*/ 876814 h 2646402"/>
              <a:gd name="connsiteX4" fmla="*/ 1434517 w 4555222"/>
              <a:gd name="connsiteY4" fmla="*/ 1066026 h 2646402"/>
              <a:gd name="connsiteX5" fmla="*/ 2357306 w 4555222"/>
              <a:gd name="connsiteY5" fmla="*/ 2643156 h 2646402"/>
              <a:gd name="connsiteX6" fmla="*/ 3145871 w 4555222"/>
              <a:gd name="connsiteY6" fmla="*/ 596243 h 2646402"/>
              <a:gd name="connsiteX7" fmla="*/ 3481431 w 4555222"/>
              <a:gd name="connsiteY7" fmla="*/ 59347 h 2646402"/>
              <a:gd name="connsiteX8" fmla="*/ 3724712 w 4555222"/>
              <a:gd name="connsiteY8" fmla="*/ 277461 h 2646402"/>
              <a:gd name="connsiteX9" fmla="*/ 4555222 w 4555222"/>
              <a:gd name="connsiteY9" fmla="*/ 2399876 h 2646402"/>
              <a:gd name="connsiteX0" fmla="*/ 0 w 4555222"/>
              <a:gd name="connsiteY0" fmla="*/ 2567656 h 2646402"/>
              <a:gd name="connsiteX1" fmla="*/ 696286 w 4555222"/>
              <a:gd name="connsiteY1" fmla="*/ 1997204 h 2646402"/>
              <a:gd name="connsiteX2" fmla="*/ 973123 w 4555222"/>
              <a:gd name="connsiteY2" fmla="*/ 1091193 h 2646402"/>
              <a:gd name="connsiteX3" fmla="*/ 1166069 w 4555222"/>
              <a:gd name="connsiteY3" fmla="*/ 876814 h 2646402"/>
              <a:gd name="connsiteX4" fmla="*/ 1434517 w 4555222"/>
              <a:gd name="connsiteY4" fmla="*/ 1066026 h 2646402"/>
              <a:gd name="connsiteX5" fmla="*/ 2357306 w 4555222"/>
              <a:gd name="connsiteY5" fmla="*/ 2643156 h 2646402"/>
              <a:gd name="connsiteX6" fmla="*/ 3145871 w 4555222"/>
              <a:gd name="connsiteY6" fmla="*/ 596243 h 2646402"/>
              <a:gd name="connsiteX7" fmla="*/ 3481431 w 4555222"/>
              <a:gd name="connsiteY7" fmla="*/ 59347 h 2646402"/>
              <a:gd name="connsiteX8" fmla="*/ 3724712 w 4555222"/>
              <a:gd name="connsiteY8" fmla="*/ 277461 h 2646402"/>
              <a:gd name="connsiteX9" fmla="*/ 4555222 w 4555222"/>
              <a:gd name="connsiteY9" fmla="*/ 2399876 h 2646402"/>
              <a:gd name="connsiteX0" fmla="*/ 0 w 4555222"/>
              <a:gd name="connsiteY0" fmla="*/ 2567656 h 2646412"/>
              <a:gd name="connsiteX1" fmla="*/ 696286 w 4555222"/>
              <a:gd name="connsiteY1" fmla="*/ 1997204 h 2646412"/>
              <a:gd name="connsiteX2" fmla="*/ 973123 w 4555222"/>
              <a:gd name="connsiteY2" fmla="*/ 1091193 h 2646412"/>
              <a:gd name="connsiteX3" fmla="*/ 1135113 w 4555222"/>
              <a:gd name="connsiteY3" fmla="*/ 850620 h 2646412"/>
              <a:gd name="connsiteX4" fmla="*/ 1434517 w 4555222"/>
              <a:gd name="connsiteY4" fmla="*/ 1066026 h 2646412"/>
              <a:gd name="connsiteX5" fmla="*/ 2357306 w 4555222"/>
              <a:gd name="connsiteY5" fmla="*/ 2643156 h 2646412"/>
              <a:gd name="connsiteX6" fmla="*/ 3145871 w 4555222"/>
              <a:gd name="connsiteY6" fmla="*/ 596243 h 2646412"/>
              <a:gd name="connsiteX7" fmla="*/ 3481431 w 4555222"/>
              <a:gd name="connsiteY7" fmla="*/ 59347 h 2646412"/>
              <a:gd name="connsiteX8" fmla="*/ 3724712 w 4555222"/>
              <a:gd name="connsiteY8" fmla="*/ 277461 h 2646412"/>
              <a:gd name="connsiteX9" fmla="*/ 4555222 w 4555222"/>
              <a:gd name="connsiteY9" fmla="*/ 2399876 h 2646412"/>
              <a:gd name="connsiteX0" fmla="*/ 0 w 4555222"/>
              <a:gd name="connsiteY0" fmla="*/ 2567656 h 2646413"/>
              <a:gd name="connsiteX1" fmla="*/ 696286 w 4555222"/>
              <a:gd name="connsiteY1" fmla="*/ 1997204 h 2646413"/>
              <a:gd name="connsiteX2" fmla="*/ 973123 w 4555222"/>
              <a:gd name="connsiteY2" fmla="*/ 1091193 h 2646413"/>
              <a:gd name="connsiteX3" fmla="*/ 1177975 w 4555222"/>
              <a:gd name="connsiteY3" fmla="*/ 848239 h 2646413"/>
              <a:gd name="connsiteX4" fmla="*/ 1434517 w 4555222"/>
              <a:gd name="connsiteY4" fmla="*/ 1066026 h 2646413"/>
              <a:gd name="connsiteX5" fmla="*/ 2357306 w 4555222"/>
              <a:gd name="connsiteY5" fmla="*/ 2643156 h 2646413"/>
              <a:gd name="connsiteX6" fmla="*/ 3145871 w 4555222"/>
              <a:gd name="connsiteY6" fmla="*/ 596243 h 2646413"/>
              <a:gd name="connsiteX7" fmla="*/ 3481431 w 4555222"/>
              <a:gd name="connsiteY7" fmla="*/ 59347 h 2646413"/>
              <a:gd name="connsiteX8" fmla="*/ 3724712 w 4555222"/>
              <a:gd name="connsiteY8" fmla="*/ 277461 h 2646413"/>
              <a:gd name="connsiteX9" fmla="*/ 4555222 w 4555222"/>
              <a:gd name="connsiteY9" fmla="*/ 2399876 h 2646413"/>
              <a:gd name="connsiteX0" fmla="*/ 0 w 4555222"/>
              <a:gd name="connsiteY0" fmla="*/ 2567656 h 2646413"/>
              <a:gd name="connsiteX1" fmla="*/ 696286 w 4555222"/>
              <a:gd name="connsiteY1" fmla="*/ 1997204 h 2646413"/>
              <a:gd name="connsiteX2" fmla="*/ 973123 w 4555222"/>
              <a:gd name="connsiteY2" fmla="*/ 1091193 h 2646413"/>
              <a:gd name="connsiteX3" fmla="*/ 1177975 w 4555222"/>
              <a:gd name="connsiteY3" fmla="*/ 848239 h 2646413"/>
              <a:gd name="connsiteX4" fmla="*/ 1434517 w 4555222"/>
              <a:gd name="connsiteY4" fmla="*/ 1066026 h 2646413"/>
              <a:gd name="connsiteX5" fmla="*/ 2357306 w 4555222"/>
              <a:gd name="connsiteY5" fmla="*/ 2643156 h 2646413"/>
              <a:gd name="connsiteX6" fmla="*/ 3145871 w 4555222"/>
              <a:gd name="connsiteY6" fmla="*/ 596243 h 2646413"/>
              <a:gd name="connsiteX7" fmla="*/ 3481431 w 4555222"/>
              <a:gd name="connsiteY7" fmla="*/ 59347 h 2646413"/>
              <a:gd name="connsiteX8" fmla="*/ 3724712 w 4555222"/>
              <a:gd name="connsiteY8" fmla="*/ 277461 h 2646413"/>
              <a:gd name="connsiteX9" fmla="*/ 4555222 w 4555222"/>
              <a:gd name="connsiteY9" fmla="*/ 2399876 h 2646413"/>
              <a:gd name="connsiteX0" fmla="*/ 0 w 4555222"/>
              <a:gd name="connsiteY0" fmla="*/ 2567656 h 2646413"/>
              <a:gd name="connsiteX1" fmla="*/ 696286 w 4555222"/>
              <a:gd name="connsiteY1" fmla="*/ 1997204 h 2646413"/>
              <a:gd name="connsiteX2" fmla="*/ 973123 w 4555222"/>
              <a:gd name="connsiteY2" fmla="*/ 1091193 h 2646413"/>
              <a:gd name="connsiteX3" fmla="*/ 1177975 w 4555222"/>
              <a:gd name="connsiteY3" fmla="*/ 848239 h 2646413"/>
              <a:gd name="connsiteX4" fmla="*/ 1434517 w 4555222"/>
              <a:gd name="connsiteY4" fmla="*/ 1066026 h 2646413"/>
              <a:gd name="connsiteX5" fmla="*/ 2357306 w 4555222"/>
              <a:gd name="connsiteY5" fmla="*/ 2643156 h 2646413"/>
              <a:gd name="connsiteX6" fmla="*/ 3145871 w 4555222"/>
              <a:gd name="connsiteY6" fmla="*/ 596243 h 2646413"/>
              <a:gd name="connsiteX7" fmla="*/ 3481431 w 4555222"/>
              <a:gd name="connsiteY7" fmla="*/ 59347 h 2646413"/>
              <a:gd name="connsiteX8" fmla="*/ 3724712 w 4555222"/>
              <a:gd name="connsiteY8" fmla="*/ 277461 h 2646413"/>
              <a:gd name="connsiteX9" fmla="*/ 4555222 w 4555222"/>
              <a:gd name="connsiteY9" fmla="*/ 2399876 h 2646413"/>
              <a:gd name="connsiteX0" fmla="*/ 0 w 4555222"/>
              <a:gd name="connsiteY0" fmla="*/ 2567656 h 2646413"/>
              <a:gd name="connsiteX1" fmla="*/ 696286 w 4555222"/>
              <a:gd name="connsiteY1" fmla="*/ 1997204 h 2646413"/>
              <a:gd name="connsiteX2" fmla="*/ 973123 w 4555222"/>
              <a:gd name="connsiteY2" fmla="*/ 1091193 h 2646413"/>
              <a:gd name="connsiteX3" fmla="*/ 1177975 w 4555222"/>
              <a:gd name="connsiteY3" fmla="*/ 848239 h 2646413"/>
              <a:gd name="connsiteX4" fmla="*/ 1434517 w 4555222"/>
              <a:gd name="connsiteY4" fmla="*/ 1066026 h 2646413"/>
              <a:gd name="connsiteX5" fmla="*/ 2357306 w 4555222"/>
              <a:gd name="connsiteY5" fmla="*/ 2643156 h 2646413"/>
              <a:gd name="connsiteX6" fmla="*/ 3145871 w 4555222"/>
              <a:gd name="connsiteY6" fmla="*/ 596243 h 2646413"/>
              <a:gd name="connsiteX7" fmla="*/ 3481431 w 4555222"/>
              <a:gd name="connsiteY7" fmla="*/ 59347 h 2646413"/>
              <a:gd name="connsiteX8" fmla="*/ 3724712 w 4555222"/>
              <a:gd name="connsiteY8" fmla="*/ 277461 h 2646413"/>
              <a:gd name="connsiteX9" fmla="*/ 4555222 w 4555222"/>
              <a:gd name="connsiteY9" fmla="*/ 2399876 h 2646413"/>
              <a:gd name="connsiteX0" fmla="*/ 0 w 4555222"/>
              <a:gd name="connsiteY0" fmla="*/ 2567656 h 2646008"/>
              <a:gd name="connsiteX1" fmla="*/ 696286 w 4555222"/>
              <a:gd name="connsiteY1" fmla="*/ 1997204 h 2646008"/>
              <a:gd name="connsiteX2" fmla="*/ 973123 w 4555222"/>
              <a:gd name="connsiteY2" fmla="*/ 1091193 h 2646008"/>
              <a:gd name="connsiteX3" fmla="*/ 1177975 w 4555222"/>
              <a:gd name="connsiteY3" fmla="*/ 848239 h 2646008"/>
              <a:gd name="connsiteX4" fmla="*/ 1434517 w 4555222"/>
              <a:gd name="connsiteY4" fmla="*/ 1066026 h 2646008"/>
              <a:gd name="connsiteX5" fmla="*/ 2357306 w 4555222"/>
              <a:gd name="connsiteY5" fmla="*/ 2643156 h 2646008"/>
              <a:gd name="connsiteX6" fmla="*/ 3145871 w 4555222"/>
              <a:gd name="connsiteY6" fmla="*/ 596243 h 2646008"/>
              <a:gd name="connsiteX7" fmla="*/ 3481431 w 4555222"/>
              <a:gd name="connsiteY7" fmla="*/ 59347 h 2646008"/>
              <a:gd name="connsiteX8" fmla="*/ 3724712 w 4555222"/>
              <a:gd name="connsiteY8" fmla="*/ 277461 h 2646008"/>
              <a:gd name="connsiteX9" fmla="*/ 4555222 w 4555222"/>
              <a:gd name="connsiteY9" fmla="*/ 2399876 h 2646008"/>
              <a:gd name="connsiteX0" fmla="*/ 0 w 4555222"/>
              <a:gd name="connsiteY0" fmla="*/ 2567656 h 2646008"/>
              <a:gd name="connsiteX1" fmla="*/ 696286 w 4555222"/>
              <a:gd name="connsiteY1" fmla="*/ 1997204 h 2646008"/>
              <a:gd name="connsiteX2" fmla="*/ 973123 w 4555222"/>
              <a:gd name="connsiteY2" fmla="*/ 1091193 h 2646008"/>
              <a:gd name="connsiteX3" fmla="*/ 1177975 w 4555222"/>
              <a:gd name="connsiteY3" fmla="*/ 848239 h 2646008"/>
              <a:gd name="connsiteX4" fmla="*/ 1434517 w 4555222"/>
              <a:gd name="connsiteY4" fmla="*/ 1066026 h 2646008"/>
              <a:gd name="connsiteX5" fmla="*/ 2357306 w 4555222"/>
              <a:gd name="connsiteY5" fmla="*/ 2643156 h 2646008"/>
              <a:gd name="connsiteX6" fmla="*/ 3145871 w 4555222"/>
              <a:gd name="connsiteY6" fmla="*/ 596243 h 2646008"/>
              <a:gd name="connsiteX7" fmla="*/ 3481431 w 4555222"/>
              <a:gd name="connsiteY7" fmla="*/ 59347 h 2646008"/>
              <a:gd name="connsiteX8" fmla="*/ 3724712 w 4555222"/>
              <a:gd name="connsiteY8" fmla="*/ 277461 h 2646008"/>
              <a:gd name="connsiteX9" fmla="*/ 4555222 w 4555222"/>
              <a:gd name="connsiteY9" fmla="*/ 2399876 h 2646008"/>
              <a:gd name="connsiteX0" fmla="*/ 0 w 4555222"/>
              <a:gd name="connsiteY0" fmla="*/ 2555931 h 2634283"/>
              <a:gd name="connsiteX1" fmla="*/ 696286 w 4555222"/>
              <a:gd name="connsiteY1" fmla="*/ 1985479 h 2634283"/>
              <a:gd name="connsiteX2" fmla="*/ 973123 w 4555222"/>
              <a:gd name="connsiteY2" fmla="*/ 1079468 h 2634283"/>
              <a:gd name="connsiteX3" fmla="*/ 1177975 w 4555222"/>
              <a:gd name="connsiteY3" fmla="*/ 836514 h 2634283"/>
              <a:gd name="connsiteX4" fmla="*/ 1434517 w 4555222"/>
              <a:gd name="connsiteY4" fmla="*/ 1054301 h 2634283"/>
              <a:gd name="connsiteX5" fmla="*/ 2357306 w 4555222"/>
              <a:gd name="connsiteY5" fmla="*/ 2631431 h 2634283"/>
              <a:gd name="connsiteX6" fmla="*/ 3145871 w 4555222"/>
              <a:gd name="connsiteY6" fmla="*/ 584518 h 2634283"/>
              <a:gd name="connsiteX7" fmla="*/ 3481431 w 4555222"/>
              <a:gd name="connsiteY7" fmla="*/ 47622 h 2634283"/>
              <a:gd name="connsiteX8" fmla="*/ 3724712 w 4555222"/>
              <a:gd name="connsiteY8" fmla="*/ 265736 h 2634283"/>
              <a:gd name="connsiteX9" fmla="*/ 4555222 w 4555222"/>
              <a:gd name="connsiteY9" fmla="*/ 2388151 h 2634283"/>
              <a:gd name="connsiteX0" fmla="*/ 0 w 4555222"/>
              <a:gd name="connsiteY0" fmla="*/ 2517526 h 2595878"/>
              <a:gd name="connsiteX1" fmla="*/ 696286 w 4555222"/>
              <a:gd name="connsiteY1" fmla="*/ 1947074 h 2595878"/>
              <a:gd name="connsiteX2" fmla="*/ 973123 w 4555222"/>
              <a:gd name="connsiteY2" fmla="*/ 1041063 h 2595878"/>
              <a:gd name="connsiteX3" fmla="*/ 1177975 w 4555222"/>
              <a:gd name="connsiteY3" fmla="*/ 798109 h 2595878"/>
              <a:gd name="connsiteX4" fmla="*/ 1434517 w 4555222"/>
              <a:gd name="connsiteY4" fmla="*/ 1015896 h 2595878"/>
              <a:gd name="connsiteX5" fmla="*/ 2357306 w 4555222"/>
              <a:gd name="connsiteY5" fmla="*/ 2593026 h 2595878"/>
              <a:gd name="connsiteX6" fmla="*/ 3145871 w 4555222"/>
              <a:gd name="connsiteY6" fmla="*/ 546113 h 2595878"/>
              <a:gd name="connsiteX7" fmla="*/ 3481431 w 4555222"/>
              <a:gd name="connsiteY7" fmla="*/ 9217 h 2595878"/>
              <a:gd name="connsiteX8" fmla="*/ 3724712 w 4555222"/>
              <a:gd name="connsiteY8" fmla="*/ 227331 h 2595878"/>
              <a:gd name="connsiteX9" fmla="*/ 4555222 w 4555222"/>
              <a:gd name="connsiteY9" fmla="*/ 2349746 h 2595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55222" h="2595878">
                <a:moveTo>
                  <a:pt x="0" y="2517526"/>
                </a:moveTo>
                <a:cubicBezTo>
                  <a:pt x="267049" y="2355338"/>
                  <a:pt x="534099" y="2193151"/>
                  <a:pt x="696286" y="1947074"/>
                </a:cubicBezTo>
                <a:cubicBezTo>
                  <a:pt x="858473" y="1700997"/>
                  <a:pt x="885698" y="1213507"/>
                  <a:pt x="973123" y="1041063"/>
                </a:cubicBezTo>
                <a:cubicBezTo>
                  <a:pt x="1060548" y="868619"/>
                  <a:pt x="1041545" y="802303"/>
                  <a:pt x="1177975" y="798109"/>
                </a:cubicBezTo>
                <a:cubicBezTo>
                  <a:pt x="1314405" y="793915"/>
                  <a:pt x="1347500" y="919150"/>
                  <a:pt x="1434517" y="1015896"/>
                </a:cubicBezTo>
                <a:cubicBezTo>
                  <a:pt x="1521534" y="1112642"/>
                  <a:pt x="2072080" y="2671323"/>
                  <a:pt x="2357306" y="2593026"/>
                </a:cubicBezTo>
                <a:cubicBezTo>
                  <a:pt x="2642532" y="2514729"/>
                  <a:pt x="2958517" y="976748"/>
                  <a:pt x="3145871" y="546113"/>
                </a:cubicBezTo>
                <a:cubicBezTo>
                  <a:pt x="3333225" y="115478"/>
                  <a:pt x="3406388" y="33772"/>
                  <a:pt x="3481431" y="9217"/>
                </a:cubicBezTo>
                <a:cubicBezTo>
                  <a:pt x="3556474" y="-15338"/>
                  <a:pt x="3595754" y="-5595"/>
                  <a:pt x="3724712" y="227331"/>
                </a:cubicBezTo>
                <a:cubicBezTo>
                  <a:pt x="3853670" y="460257"/>
                  <a:pt x="4412609" y="2014186"/>
                  <a:pt x="4555222" y="2349746"/>
                </a:cubicBezTo>
              </a:path>
            </a:pathLst>
          </a:cu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ea typeface="ヒラギノ角ゴ Pro W3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102054" y="4554630"/>
            <a:ext cx="1733425" cy="279744"/>
          </a:xfrm>
          <a:prstGeom prst="rect">
            <a:avLst/>
          </a:prstGeom>
          <a:solidFill>
            <a:srgbClr val="C85A1E"/>
          </a:solidFill>
        </p:spPr>
        <p:txBody>
          <a:bodyPr wrap="square" lIns="45714" tIns="45714" rIns="45714" bIns="45714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rPr>
              <a:t>Generation Balancing</a:t>
            </a:r>
          </a:p>
        </p:txBody>
      </p:sp>
    </p:spTree>
    <p:extLst>
      <p:ext uri="{BB962C8B-B14F-4D97-AF65-F5344CB8AC3E}">
        <p14:creationId xmlns:p14="http://schemas.microsoft.com/office/powerpoint/2010/main" val="248516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/>
              <a:t>SynerGen</a:t>
            </a:r>
            <a:r>
              <a:rPr lang="en-US" sz="2400" dirty="0"/>
              <a:t> Technologies </a:t>
            </a:r>
            <a:br>
              <a:rPr lang="en-US" sz="2400" dirty="0"/>
            </a:br>
            <a:r>
              <a:rPr lang="en-US" sz="2400" dirty="0"/>
              <a:t>Leveraging strengths via hybrid solutions</a:t>
            </a:r>
          </a:p>
        </p:txBody>
      </p:sp>
      <p:pic>
        <p:nvPicPr>
          <p:cNvPr id="5" name="Picture 6" descr="C:\Users\z003eb2s\AppData\Local\Microsoft\Windows\Temporary Internet Files\Content.IE5\ZM5VS4SS\SE_01153136_lowres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3052" y="5049181"/>
            <a:ext cx="1974640" cy="1316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4860" y="3668983"/>
            <a:ext cx="2167791" cy="1587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batt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3593" b="98603" l="1921" r="97119">
                        <a14:backgroundMark x1="11525" y1="68263" x2="10924" y2="64471"/>
                        <a14:backgroundMark x1="23049" y1="72056" x2="23049" y2="72056"/>
                        <a14:backgroundMark x1="37455" y1="83234" x2="37455" y2="83234"/>
                        <a14:backgroundMark x1="46579" y1="90020" x2="46579" y2="90020"/>
                        <a14:backgroundMark x1="34574" y1="80240" x2="34574" y2="80240"/>
                        <a14:backgroundMark x1="45258" y1="91417" x2="45258" y2="91417"/>
                        <a14:backgroundMark x1="49460" y1="93014" x2="49460" y2="93014"/>
                        <a14:backgroundMark x1="51981" y1="92415" x2="51981" y2="924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17" y="4928557"/>
            <a:ext cx="3140393" cy="1557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Grafik 5">
            <a:extLst>
              <a:ext uri="{FF2B5EF4-FFF2-40B4-BE49-F238E27FC236}">
                <a16:creationId xmlns:a16="http://schemas.microsoft.com/office/drawing/2014/main" id="{7A41B1E8-A3EB-44A6-AA65-148F7016D8F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7426" y="3987567"/>
            <a:ext cx="3701372" cy="2817080"/>
          </a:xfrm>
          <a:prstGeom prst="rect">
            <a:avLst/>
          </a:prstGeom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35" y="1440000"/>
            <a:ext cx="11564938" cy="237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Grafik 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23212" y="3596902"/>
            <a:ext cx="2900763" cy="1727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576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1" name="Gerade Verbindung 55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gray">
          <a:xfrm>
            <a:off x="4691645" y="3504539"/>
            <a:ext cx="548722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2" name="Gerade Verbindung 58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gray">
          <a:xfrm>
            <a:off x="4691646" y="2881760"/>
            <a:ext cx="503202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Rechteck 5"/>
          <p:cNvSpPr/>
          <p:nvPr/>
        </p:nvSpPr>
        <p:spPr bwMode="auto">
          <a:xfrm>
            <a:off x="1947141" y="1649240"/>
            <a:ext cx="9769954" cy="3269269"/>
          </a:xfrm>
          <a:custGeom>
            <a:avLst/>
            <a:gdLst>
              <a:gd name="connsiteX0" fmla="*/ 0 w 8882062"/>
              <a:gd name="connsiteY0" fmla="*/ 0 h 2759081"/>
              <a:gd name="connsiteX1" fmla="*/ 8882062 w 8882062"/>
              <a:gd name="connsiteY1" fmla="*/ 0 h 2759081"/>
              <a:gd name="connsiteX2" fmla="*/ 8882062 w 8882062"/>
              <a:gd name="connsiteY2" fmla="*/ 2759081 h 2759081"/>
              <a:gd name="connsiteX3" fmla="*/ 0 w 8882062"/>
              <a:gd name="connsiteY3" fmla="*/ 2759081 h 2759081"/>
              <a:gd name="connsiteX4" fmla="*/ 0 w 8882062"/>
              <a:gd name="connsiteY4" fmla="*/ 0 h 2759081"/>
              <a:gd name="connsiteX0" fmla="*/ 8882062 w 8973502"/>
              <a:gd name="connsiteY0" fmla="*/ 0 h 2759081"/>
              <a:gd name="connsiteX1" fmla="*/ 8882062 w 8973502"/>
              <a:gd name="connsiteY1" fmla="*/ 2759081 h 2759081"/>
              <a:gd name="connsiteX2" fmla="*/ 0 w 8973502"/>
              <a:gd name="connsiteY2" fmla="*/ 2759081 h 2759081"/>
              <a:gd name="connsiteX3" fmla="*/ 0 w 8973502"/>
              <a:gd name="connsiteY3" fmla="*/ 0 h 2759081"/>
              <a:gd name="connsiteX4" fmla="*/ 8973502 w 8973502"/>
              <a:gd name="connsiteY4" fmla="*/ 91440 h 2759081"/>
              <a:gd name="connsiteX0" fmla="*/ 8882062 w 8882062"/>
              <a:gd name="connsiteY0" fmla="*/ 0 h 2759081"/>
              <a:gd name="connsiteX1" fmla="*/ 8882062 w 8882062"/>
              <a:gd name="connsiteY1" fmla="*/ 2759081 h 2759081"/>
              <a:gd name="connsiteX2" fmla="*/ 0 w 8882062"/>
              <a:gd name="connsiteY2" fmla="*/ 2759081 h 2759081"/>
              <a:gd name="connsiteX3" fmla="*/ 0 w 8882062"/>
              <a:gd name="connsiteY3" fmla="*/ 0 h 2759081"/>
              <a:gd name="connsiteX0" fmla="*/ 8882062 w 8882062"/>
              <a:gd name="connsiteY0" fmla="*/ 2759081 h 2759081"/>
              <a:gd name="connsiteX1" fmla="*/ 0 w 8882062"/>
              <a:gd name="connsiteY1" fmla="*/ 2759081 h 2759081"/>
              <a:gd name="connsiteX2" fmla="*/ 0 w 8882062"/>
              <a:gd name="connsiteY2" fmla="*/ 0 h 2759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82062" h="2759081">
                <a:moveTo>
                  <a:pt x="8882062" y="2759081"/>
                </a:moveTo>
                <a:lnTo>
                  <a:pt x="0" y="2759081"/>
                </a:lnTo>
                <a:lnTo>
                  <a:pt x="0" y="0"/>
                </a:lnTo>
              </a:path>
            </a:pathLst>
          </a:custGeom>
          <a:noFill/>
          <a:ln w="31750">
            <a:solidFill>
              <a:srgbClr val="879BAA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endParaRPr lang="de-DE" sz="1400" b="1" dirty="0">
              <a:solidFill>
                <a:srgbClr val="3C464B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316232" y="1484786"/>
            <a:ext cx="66010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r" eaLnBrk="0" hangingPunct="0">
              <a:buClr>
                <a:srgbClr val="264C72"/>
              </a:buClr>
              <a:defRPr sz="1200" b="1" i="0" u="none" strike="noStrike" baseline="0">
                <a:solidFill>
                  <a:srgbClr val="879BAA"/>
                </a:solidFill>
                <a:latin typeface="+mn-lt"/>
                <a:ea typeface="+mn-ea"/>
              </a:defRPr>
            </a:lvl1pPr>
            <a:lvl2pPr marL="361950" indent="-180975"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2pPr>
            <a:lvl3pPr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3pPr>
            <a:lvl4pPr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4pPr>
            <a:lvl5pPr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/>
            <a:r>
              <a:rPr lang="en-US" altLang="de-DE" sz="1400" dirty="0">
                <a:cs typeface="Arial" panose="020B0604020202020204" pitchFamily="34" charset="0"/>
              </a:rPr>
              <a:t>Power</a:t>
            </a:r>
          </a:p>
        </p:txBody>
      </p:sp>
      <p:sp>
        <p:nvSpPr>
          <p:cNvPr id="237" name="Line 184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 flipV="1">
            <a:off x="1976338" y="2274247"/>
            <a:ext cx="9740757" cy="0"/>
          </a:xfrm>
          <a:prstGeom prst="line">
            <a:avLst/>
          </a:prstGeom>
          <a:noFill/>
          <a:ln w="12700">
            <a:solidFill>
              <a:schemeClr val="accent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endParaRPr lang="en-US" sz="1400" b="1">
              <a:solidFill>
                <a:srgbClr val="3C464B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48" name="Line 68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 flipH="1">
            <a:off x="2832771" y="4188187"/>
            <a:ext cx="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endParaRPr lang="en-US" sz="1400" b="1">
              <a:solidFill>
                <a:srgbClr val="3C464B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0" name="Pfeil nach rechts 5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rot="5400000">
            <a:off x="4514653" y="3105047"/>
            <a:ext cx="637067" cy="190501"/>
          </a:xfrm>
          <a:prstGeom prst="rightArrow">
            <a:avLst>
              <a:gd name="adj1" fmla="val 50000"/>
              <a:gd name="adj2" fmla="val 67338"/>
            </a:avLst>
          </a:prstGeom>
          <a:solidFill>
            <a:srgbClr val="41AAC8"/>
          </a:solidFill>
          <a:ln w="9525">
            <a:noFill/>
            <a:miter lim="800000"/>
            <a:headEnd/>
            <a:tailEnd/>
          </a:ln>
        </p:spPr>
        <p:txBody>
          <a:bodyPr lIns="107987" tIns="53994" rIns="107987" bIns="53994" anchor="ctr"/>
          <a:lstStyle/>
          <a:p>
            <a:pPr algn="ctr">
              <a:buFont typeface="Wingdings" pitchFamily="2" charset="2"/>
            </a:pPr>
            <a:endParaRPr lang="en-US" altLang="de-DE" sz="1400" b="1">
              <a:solidFill>
                <a:srgbClr val="3C464B"/>
              </a:solidFill>
              <a:latin typeface="+mn-lt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57" name="Pfeil nach rechts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10800000">
            <a:off x="2652824" y="3728186"/>
            <a:ext cx="266189" cy="137431"/>
          </a:xfrm>
          <a:prstGeom prst="rightArrow">
            <a:avLst>
              <a:gd name="adj1" fmla="val 50000"/>
              <a:gd name="adj2" fmla="val 55925"/>
            </a:avLst>
          </a:prstGeom>
          <a:solidFill>
            <a:srgbClr val="41AAC8"/>
          </a:solidFill>
          <a:ln w="9525">
            <a:noFill/>
            <a:miter lim="800000"/>
            <a:headEnd/>
            <a:tailEnd/>
          </a:ln>
        </p:spPr>
        <p:txBody>
          <a:bodyPr lIns="107987" tIns="53994" rIns="107987" bIns="53994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de-DE" sz="1400" b="1" dirty="0">
                <a:solidFill>
                  <a:srgbClr val="3C464B"/>
                </a:solidFill>
                <a:latin typeface="+mn-lt"/>
                <a:ea typeface="Arial Unicode MS" pitchFamily="34" charset="-128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58" name="Textplatzhalter 2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0800619" y="5025511"/>
            <a:ext cx="91487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ctr" eaLnBrk="0" hangingPunct="0">
              <a:buClr>
                <a:srgbClr val="264C72"/>
              </a:buClr>
              <a:defRPr sz="1200" b="1" i="0" u="none" strike="noStrike" baseline="0">
                <a:solidFill>
                  <a:srgbClr val="879BAA"/>
                </a:solidFill>
                <a:latin typeface="+mn-lt"/>
                <a:ea typeface="+mn-ea"/>
              </a:defRPr>
            </a:lvl1pPr>
            <a:lvl2pPr marL="361950" indent="-180975"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2pPr>
            <a:lvl3pPr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3pPr>
            <a:lvl4pPr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4pPr>
            <a:lvl5pPr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/>
            <a:r>
              <a:rPr lang="en-US" sz="1400" dirty="0">
                <a:cs typeface="Arial" panose="020B0604020202020204" pitchFamily="34" charset="0"/>
              </a:rPr>
              <a:t>Time</a:t>
            </a:r>
          </a:p>
        </p:txBody>
      </p:sp>
      <p:sp>
        <p:nvSpPr>
          <p:cNvPr id="264" name="Pfeil nach rechts 9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9116352" y="4042266"/>
            <a:ext cx="625227" cy="202377"/>
          </a:xfrm>
          <a:prstGeom prst="rightArrow">
            <a:avLst>
              <a:gd name="adj1" fmla="val 50000"/>
              <a:gd name="adj2" fmla="val 60056"/>
            </a:avLst>
          </a:prstGeom>
          <a:solidFill>
            <a:srgbClr val="41AAC8"/>
          </a:solidFill>
          <a:ln w="9525">
            <a:noFill/>
            <a:miter lim="800000"/>
            <a:headEnd/>
            <a:tailEnd/>
          </a:ln>
        </p:spPr>
        <p:txBody>
          <a:bodyPr lIns="107987" tIns="53994" rIns="107987" bIns="53994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en-US" altLang="de-DE" sz="1400" b="1">
              <a:solidFill>
                <a:srgbClr val="3C464B"/>
              </a:solidFill>
              <a:latin typeface="+mn-lt"/>
              <a:ea typeface="Arial Unicode MS" pitchFamily="34" charset="-128"/>
              <a:cs typeface="Arial" panose="020B0604020202020204" pitchFamily="34" charset="0"/>
            </a:endParaRPr>
          </a:p>
        </p:txBody>
      </p:sp>
      <p:cxnSp>
        <p:nvCxnSpPr>
          <p:cNvPr id="295" name="Gerade Verbindung 73"/>
          <p:cNvCxnSpPr>
            <a:cxnSpLocks noChangeShapeType="1"/>
          </p:cNvCxnSpPr>
          <p:nvPr>
            <p:custDataLst>
              <p:tags r:id="rId10"/>
            </p:custDataLst>
          </p:nvPr>
        </p:nvCxnSpPr>
        <p:spPr bwMode="gray">
          <a:xfrm>
            <a:off x="2913843" y="2665101"/>
            <a:ext cx="7695" cy="1195699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0" name="Rechteck 309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2501351" y="1759698"/>
            <a:ext cx="202668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hangingPunct="0">
              <a:buClr>
                <a:srgbClr val="264C72"/>
              </a:buClr>
            </a:pPr>
            <a:r>
              <a:rPr lang="en-US" sz="1400" b="1" dirty="0">
                <a:solidFill>
                  <a:srgbClr val="3C464B"/>
                </a:solidFill>
                <a:latin typeface="+mn-lt"/>
                <a:ea typeface="+mn-ea"/>
                <a:cs typeface="Arial" panose="020B0604020202020204" pitchFamily="34" charset="0"/>
              </a:rPr>
              <a:t>Frequency response</a:t>
            </a:r>
            <a:br>
              <a:rPr lang="en-US" sz="1400" b="1" dirty="0">
                <a:solidFill>
                  <a:srgbClr val="3C464B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US" sz="1400" b="1" dirty="0">
                <a:solidFill>
                  <a:srgbClr val="3C464B"/>
                </a:solidFill>
                <a:latin typeface="+mn-lt"/>
                <a:ea typeface="+mn-ea"/>
                <a:cs typeface="Arial" panose="020B0604020202020204" pitchFamily="34" charset="0"/>
              </a:rPr>
              <a:t>PFR + SFR</a:t>
            </a:r>
          </a:p>
        </p:txBody>
      </p:sp>
      <p:sp>
        <p:nvSpPr>
          <p:cNvPr id="311" name="Rechteck 310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590023" y="1556792"/>
            <a:ext cx="115794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buClr>
                <a:srgbClr val="264C72"/>
              </a:buClr>
            </a:pPr>
            <a:r>
              <a:rPr lang="en-US" sz="1400" b="1" dirty="0">
                <a:solidFill>
                  <a:srgbClr val="3C464B"/>
                </a:solidFill>
                <a:latin typeface="+mn-lt"/>
                <a:ea typeface="+mn-ea"/>
                <a:cs typeface="Arial" panose="020B0604020202020204" pitchFamily="34" charset="0"/>
              </a:rPr>
              <a:t>Spinning</a:t>
            </a:r>
            <a:br>
              <a:rPr lang="en-US" sz="1400" b="1" dirty="0">
                <a:solidFill>
                  <a:srgbClr val="3C464B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US" sz="1400" b="1" dirty="0">
                <a:solidFill>
                  <a:srgbClr val="3C464B"/>
                </a:solidFill>
                <a:latin typeface="+mn-lt"/>
                <a:ea typeface="+mn-ea"/>
                <a:cs typeface="Arial" panose="020B0604020202020204" pitchFamily="34" charset="0"/>
              </a:rPr>
              <a:t>Reserve</a:t>
            </a:r>
          </a:p>
        </p:txBody>
      </p:sp>
      <p:sp>
        <p:nvSpPr>
          <p:cNvPr id="312" name="Rechteck 311"/>
          <p:cNvSpPr/>
          <p:nvPr>
            <p:custDataLst>
              <p:tags r:id="rId13"/>
            </p:custDataLst>
          </p:nvPr>
        </p:nvSpPr>
        <p:spPr bwMode="gray">
          <a:xfrm>
            <a:off x="4484900" y="3681028"/>
            <a:ext cx="1419896" cy="75537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987" tIns="53994" rIns="107987" bIns="53994" numCol="1" spcCol="71990" rtlCol="0" anchor="ctr">
            <a:sp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r>
              <a:rPr lang="en-US" sz="1400" b="1" dirty="0">
                <a:solidFill>
                  <a:srgbClr val="3C464B"/>
                </a:solidFill>
                <a:latin typeface="+mn-lt"/>
                <a:cs typeface="Arial" panose="020B0604020202020204" pitchFamily="34" charset="0"/>
              </a:rPr>
              <a:t>Fast ramp-up and ramp-down support</a:t>
            </a:r>
          </a:p>
        </p:txBody>
      </p:sp>
      <p:sp>
        <p:nvSpPr>
          <p:cNvPr id="314" name="Rechteck 313"/>
          <p:cNvSpPr/>
          <p:nvPr>
            <p:custDataLst>
              <p:tags r:id="rId14"/>
            </p:custDataLst>
          </p:nvPr>
        </p:nvSpPr>
        <p:spPr bwMode="gray">
          <a:xfrm>
            <a:off x="7575339" y="4190318"/>
            <a:ext cx="1420648" cy="5399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987" tIns="53994" rIns="107987" bIns="53994" numCol="1" spcCol="71990" rtlCol="0" anchor="ctr">
            <a:sp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r>
              <a:rPr lang="en-US" sz="1400" b="1" dirty="0">
                <a:solidFill>
                  <a:srgbClr val="3C464B"/>
                </a:solidFill>
                <a:latin typeface="+mn-lt"/>
                <a:cs typeface="Arial" panose="020B0604020202020204" pitchFamily="34" charset="0"/>
              </a:rPr>
              <a:t>Min. environ-</a:t>
            </a:r>
            <a:br>
              <a:rPr lang="en-US" sz="1400" b="1" dirty="0">
                <a:solidFill>
                  <a:srgbClr val="3C464B"/>
                </a:solidFill>
                <a:latin typeface="+mn-lt"/>
                <a:cs typeface="Arial" panose="020B0604020202020204" pitchFamily="34" charset="0"/>
              </a:rPr>
            </a:br>
            <a:r>
              <a:rPr lang="en-US" sz="1400" b="1" dirty="0">
                <a:solidFill>
                  <a:srgbClr val="3C464B"/>
                </a:solidFill>
                <a:latin typeface="+mn-lt"/>
                <a:cs typeface="Arial" panose="020B0604020202020204" pitchFamily="34" charset="0"/>
              </a:rPr>
              <a:t>mental load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2354759" y="5026505"/>
            <a:ext cx="3550037" cy="215444"/>
            <a:chOff x="2354759" y="5003049"/>
            <a:chExt cx="2281297" cy="215444"/>
          </a:xfrm>
        </p:grpSpPr>
        <p:sp>
          <p:nvSpPr>
            <p:cNvPr id="315" name="Rechteck 314"/>
            <p:cNvSpPr>
              <a:spLocks/>
            </p:cNvSpPr>
            <p:nvPr/>
          </p:nvSpPr>
          <p:spPr bwMode="gray">
            <a:xfrm>
              <a:off x="2600875" y="5003049"/>
              <a:ext cx="2035181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 err="1">
                  <a:solidFill>
                    <a:srgbClr val="3C464B"/>
                  </a:solidFill>
                  <a:latin typeface="+mn-lt"/>
                </a:rPr>
                <a:t>SynerGen</a:t>
              </a:r>
              <a:r>
                <a:rPr lang="en-US" sz="1400" dirty="0">
                  <a:solidFill>
                    <a:srgbClr val="3C464B"/>
                  </a:solidFill>
                  <a:latin typeface="+mn-lt"/>
                </a:rPr>
                <a:t> Hybrid Solution operation line</a:t>
              </a:r>
            </a:p>
          </p:txBody>
        </p:sp>
        <p:cxnSp>
          <p:nvCxnSpPr>
            <p:cNvPr id="317" name="Gerade Verbindung 2"/>
            <p:cNvCxnSpPr>
              <a:cxnSpLocks noChangeShapeType="1"/>
            </p:cNvCxnSpPr>
            <p:nvPr/>
          </p:nvCxnSpPr>
          <p:spPr bwMode="gray">
            <a:xfrm flipH="1" flipV="1">
              <a:off x="2354759" y="5100243"/>
              <a:ext cx="192341" cy="0"/>
            </a:xfrm>
            <a:prstGeom prst="line">
              <a:avLst/>
            </a:prstGeom>
            <a:noFill/>
            <a:ln w="57150" algn="ctr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05" name="Rechteck 104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44584" y="2919718"/>
            <a:ext cx="131992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buClr>
                <a:srgbClr val="264C72"/>
              </a:buClr>
            </a:pPr>
            <a:r>
              <a:rPr lang="en-US" sz="1400" b="1" dirty="0">
                <a:solidFill>
                  <a:srgbClr val="3C464B"/>
                </a:solidFill>
                <a:latin typeface="+mn-lt"/>
                <a:ea typeface="+mn-ea"/>
                <a:cs typeface="Arial" panose="020B0604020202020204" pitchFamily="34" charset="0"/>
              </a:rPr>
              <a:t>Fast start, response within &lt; 1s</a:t>
            </a:r>
          </a:p>
        </p:txBody>
      </p:sp>
      <p:sp>
        <p:nvSpPr>
          <p:cNvPr id="150" name="Rechteck 149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2550114" y="3856685"/>
            <a:ext cx="1487750" cy="5399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987" tIns="53994" rIns="107987" bIns="53994" numCol="1" spcCol="71990" rtlCol="0" anchor="ctr">
            <a:sp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r>
              <a:rPr lang="en-US" sz="1400" b="1" dirty="0">
                <a:solidFill>
                  <a:srgbClr val="3C464B"/>
                </a:solidFill>
                <a:latin typeface="+mn-lt"/>
                <a:cs typeface="Arial" panose="020B0604020202020204" pitchFamily="34" charset="0"/>
              </a:rPr>
              <a:t>Fast start, </a:t>
            </a:r>
          </a:p>
          <a:p>
            <a:pPr>
              <a:spcBef>
                <a:spcPct val="0"/>
              </a:spcBef>
              <a:buFont typeface="Wingdings" charset="0"/>
              <a:buNone/>
            </a:pPr>
            <a:r>
              <a:rPr lang="en-US" sz="1400" b="1" dirty="0">
                <a:solidFill>
                  <a:srgbClr val="3C464B"/>
                </a:solidFill>
                <a:latin typeface="+mn-lt"/>
                <a:cs typeface="Arial" panose="020B0604020202020204" pitchFamily="34" charset="0"/>
              </a:rPr>
              <a:t>stress reduced</a:t>
            </a:r>
          </a:p>
        </p:txBody>
      </p:sp>
      <p:sp>
        <p:nvSpPr>
          <p:cNvPr id="151" name="Textfeld 150"/>
          <p:cNvSpPr txBox="1"/>
          <p:nvPr>
            <p:custDataLst>
              <p:tags r:id="rId17"/>
            </p:custDataLst>
          </p:nvPr>
        </p:nvSpPr>
        <p:spPr>
          <a:xfrm>
            <a:off x="10735959" y="2055472"/>
            <a:ext cx="97502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eaLnBrk="0" hangingPunct="0">
              <a:buClr>
                <a:srgbClr val="264C72"/>
              </a:buClr>
              <a:defRPr sz="1200" b="1">
                <a:solidFill>
                  <a:srgbClr val="3C464B"/>
                </a:solidFill>
                <a:latin typeface="+mn-lt"/>
                <a:ea typeface="+mn-ea"/>
              </a:defRPr>
            </a:lvl1pPr>
          </a:lstStyle>
          <a:p>
            <a:r>
              <a:rPr lang="de-DE" sz="1400" dirty="0">
                <a:cs typeface="Arial" panose="020B0604020202020204" pitchFamily="34" charset="0"/>
              </a:rPr>
              <a:t>Plant max. </a:t>
            </a:r>
            <a:r>
              <a:rPr lang="de-DE" sz="1400" dirty="0" err="1">
                <a:cs typeface="Arial" panose="020B0604020202020204" pitchFamily="34" charset="0"/>
              </a:rPr>
              <a:t>load</a:t>
            </a:r>
            <a:endParaRPr lang="de-DE" sz="1400" dirty="0"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ntegrated energy storage enables market participation </a:t>
            </a:r>
            <a:br>
              <a:rPr lang="en-US" sz="2400" dirty="0"/>
            </a:br>
            <a:r>
              <a:rPr lang="en-US" sz="2400" dirty="0"/>
              <a:t>through grid support and ancillary services</a:t>
            </a:r>
            <a:endParaRPr lang="de-DE" sz="2400" dirty="0"/>
          </a:p>
        </p:txBody>
      </p:sp>
      <p:sp>
        <p:nvSpPr>
          <p:cNvPr id="253" name="Pfeil nach rechts 65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 rot="16200000">
            <a:off x="7888892" y="2097396"/>
            <a:ext cx="204495" cy="149210"/>
          </a:xfrm>
          <a:prstGeom prst="rightArrow">
            <a:avLst>
              <a:gd name="adj1" fmla="val 50000"/>
              <a:gd name="adj2" fmla="val 49417"/>
            </a:avLst>
          </a:prstGeom>
          <a:solidFill>
            <a:srgbClr val="41AAC8"/>
          </a:solidFill>
          <a:ln w="9525">
            <a:noFill/>
            <a:miter lim="800000"/>
            <a:headEnd/>
            <a:tailEnd/>
          </a:ln>
        </p:spPr>
        <p:txBody>
          <a:bodyPr lIns="107987" tIns="53994" rIns="107987" bIns="53994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en-US" altLang="de-DE" sz="1400" b="1">
              <a:solidFill>
                <a:srgbClr val="3C464B"/>
              </a:solidFill>
              <a:latin typeface="+mn-lt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66" name="Freeform 5"/>
          <p:cNvSpPr>
            <a:spLocks/>
          </p:cNvSpPr>
          <p:nvPr/>
        </p:nvSpPr>
        <p:spPr bwMode="auto">
          <a:xfrm>
            <a:off x="2217162" y="2273915"/>
            <a:ext cx="9202903" cy="2632436"/>
          </a:xfrm>
          <a:custGeom>
            <a:avLst/>
            <a:gdLst>
              <a:gd name="T0" fmla="*/ 0 w 6989"/>
              <a:gd name="T1" fmla="*/ 1157 h 2134"/>
              <a:gd name="T2" fmla="*/ 312 w 6989"/>
              <a:gd name="T3" fmla="*/ 436 h 2134"/>
              <a:gd name="T4" fmla="*/ 586 w 6989"/>
              <a:gd name="T5" fmla="*/ 360 h 2134"/>
              <a:gd name="T6" fmla="*/ 662 w 6989"/>
              <a:gd name="T7" fmla="*/ 521 h 2134"/>
              <a:gd name="T8" fmla="*/ 804 w 6989"/>
              <a:gd name="T9" fmla="*/ 521 h 2134"/>
              <a:gd name="T10" fmla="*/ 880 w 6989"/>
              <a:gd name="T11" fmla="*/ 408 h 2134"/>
              <a:gd name="T12" fmla="*/ 936 w 6989"/>
              <a:gd name="T13" fmla="*/ 540 h 2134"/>
              <a:gd name="T14" fmla="*/ 1003 w 6989"/>
              <a:gd name="T15" fmla="*/ 493 h 2134"/>
              <a:gd name="T16" fmla="*/ 1069 w 6989"/>
              <a:gd name="T17" fmla="*/ 531 h 2134"/>
              <a:gd name="T18" fmla="*/ 1163 w 6989"/>
              <a:gd name="T19" fmla="*/ 550 h 2134"/>
              <a:gd name="T20" fmla="*/ 1230 w 6989"/>
              <a:gd name="T21" fmla="*/ 256 h 2134"/>
              <a:gd name="T22" fmla="*/ 1267 w 6989"/>
              <a:gd name="T23" fmla="*/ 465 h 2134"/>
              <a:gd name="T24" fmla="*/ 1315 w 6989"/>
              <a:gd name="T25" fmla="*/ 398 h 2134"/>
              <a:gd name="T26" fmla="*/ 1381 w 6989"/>
              <a:gd name="T27" fmla="*/ 626 h 2134"/>
              <a:gd name="T28" fmla="*/ 1447 w 6989"/>
              <a:gd name="T29" fmla="*/ 588 h 2134"/>
              <a:gd name="T30" fmla="*/ 1542 w 6989"/>
              <a:gd name="T31" fmla="*/ 332 h 2134"/>
              <a:gd name="T32" fmla="*/ 1674 w 6989"/>
              <a:gd name="T33" fmla="*/ 550 h 2134"/>
              <a:gd name="T34" fmla="*/ 1740 w 6989"/>
              <a:gd name="T35" fmla="*/ 569 h 2134"/>
              <a:gd name="T36" fmla="*/ 1816 w 6989"/>
              <a:gd name="T37" fmla="*/ 474 h 2134"/>
              <a:gd name="T38" fmla="*/ 1967 w 6989"/>
              <a:gd name="T39" fmla="*/ 360 h 2134"/>
              <a:gd name="T40" fmla="*/ 2327 w 6989"/>
              <a:gd name="T41" fmla="*/ 1062 h 2134"/>
              <a:gd name="T42" fmla="*/ 2497 w 6989"/>
              <a:gd name="T43" fmla="*/ 1043 h 2134"/>
              <a:gd name="T44" fmla="*/ 2591 w 6989"/>
              <a:gd name="T45" fmla="*/ 1024 h 2134"/>
              <a:gd name="T46" fmla="*/ 2714 w 6989"/>
              <a:gd name="T47" fmla="*/ 256 h 2134"/>
              <a:gd name="T48" fmla="*/ 3282 w 6989"/>
              <a:gd name="T49" fmla="*/ 1432 h 2134"/>
              <a:gd name="T50" fmla="*/ 3868 w 6989"/>
              <a:gd name="T51" fmla="*/ 161 h 2134"/>
              <a:gd name="T52" fmla="*/ 4124 w 6989"/>
              <a:gd name="T53" fmla="*/ 152 h 2134"/>
              <a:gd name="T54" fmla="*/ 4691 w 6989"/>
              <a:gd name="T55" fmla="*/ 0 h 2134"/>
              <a:gd name="T56" fmla="*/ 4946 w 6989"/>
              <a:gd name="T57" fmla="*/ 76 h 2134"/>
              <a:gd name="T58" fmla="*/ 5741 w 6989"/>
              <a:gd name="T59" fmla="*/ 1859 h 2134"/>
              <a:gd name="T60" fmla="*/ 5977 w 6989"/>
              <a:gd name="T61" fmla="*/ 1071 h 2134"/>
              <a:gd name="T62" fmla="*/ 6072 w 6989"/>
              <a:gd name="T63" fmla="*/ 1109 h 2134"/>
              <a:gd name="T64" fmla="*/ 6157 w 6989"/>
              <a:gd name="T65" fmla="*/ 1365 h 2134"/>
              <a:gd name="T66" fmla="*/ 6261 w 6989"/>
              <a:gd name="T67" fmla="*/ 1688 h 2134"/>
              <a:gd name="T68" fmla="*/ 6289 w 6989"/>
              <a:gd name="T69" fmla="*/ 1631 h 2134"/>
              <a:gd name="T70" fmla="*/ 6412 w 6989"/>
              <a:gd name="T71" fmla="*/ 1640 h 2134"/>
              <a:gd name="T72" fmla="*/ 6460 w 6989"/>
              <a:gd name="T73" fmla="*/ 1640 h 2134"/>
              <a:gd name="T74" fmla="*/ 6582 w 6989"/>
              <a:gd name="T75" fmla="*/ 1612 h 2134"/>
              <a:gd name="T76" fmla="*/ 6630 w 6989"/>
              <a:gd name="T77" fmla="*/ 1669 h 2134"/>
              <a:gd name="T78" fmla="*/ 6696 w 6989"/>
              <a:gd name="T79" fmla="*/ 1659 h 2134"/>
              <a:gd name="T80" fmla="*/ 6791 w 6989"/>
              <a:gd name="T81" fmla="*/ 1669 h 2134"/>
              <a:gd name="T82" fmla="*/ 6885 w 6989"/>
              <a:gd name="T83" fmla="*/ 1546 h 2134"/>
              <a:gd name="T84" fmla="*/ 6989 w 6989"/>
              <a:gd name="T85" fmla="*/ 1574 h 2134"/>
              <a:gd name="connsiteX0" fmla="*/ 0 w 10000"/>
              <a:gd name="connsiteY0" fmla="*/ 10000 h 10000"/>
              <a:gd name="connsiteX1" fmla="*/ 0 w 10000"/>
              <a:gd name="connsiteY1" fmla="*/ 5422 h 10000"/>
              <a:gd name="connsiteX2" fmla="*/ 446 w 10000"/>
              <a:gd name="connsiteY2" fmla="*/ 2043 h 10000"/>
              <a:gd name="connsiteX3" fmla="*/ 771 w 10000"/>
              <a:gd name="connsiteY3" fmla="*/ 2043 h 10000"/>
              <a:gd name="connsiteX4" fmla="*/ 838 w 10000"/>
              <a:gd name="connsiteY4" fmla="*/ 1687 h 10000"/>
              <a:gd name="connsiteX5" fmla="*/ 907 w 10000"/>
              <a:gd name="connsiteY5" fmla="*/ 1687 h 10000"/>
              <a:gd name="connsiteX6" fmla="*/ 947 w 10000"/>
              <a:gd name="connsiteY6" fmla="*/ 2441 h 10000"/>
              <a:gd name="connsiteX7" fmla="*/ 1042 w 10000"/>
              <a:gd name="connsiteY7" fmla="*/ 1645 h 10000"/>
              <a:gd name="connsiteX8" fmla="*/ 1150 w 10000"/>
              <a:gd name="connsiteY8" fmla="*/ 2441 h 10000"/>
              <a:gd name="connsiteX9" fmla="*/ 1205 w 10000"/>
              <a:gd name="connsiteY9" fmla="*/ 1645 h 10000"/>
              <a:gd name="connsiteX10" fmla="*/ 1259 w 10000"/>
              <a:gd name="connsiteY10" fmla="*/ 1912 h 10000"/>
              <a:gd name="connsiteX11" fmla="*/ 1299 w 10000"/>
              <a:gd name="connsiteY11" fmla="*/ 1556 h 10000"/>
              <a:gd name="connsiteX12" fmla="*/ 1339 w 10000"/>
              <a:gd name="connsiteY12" fmla="*/ 2530 h 10000"/>
              <a:gd name="connsiteX13" fmla="*/ 1421 w 10000"/>
              <a:gd name="connsiteY13" fmla="*/ 1378 h 10000"/>
              <a:gd name="connsiteX14" fmla="*/ 1435 w 10000"/>
              <a:gd name="connsiteY14" fmla="*/ 2310 h 10000"/>
              <a:gd name="connsiteX15" fmla="*/ 1488 w 10000"/>
              <a:gd name="connsiteY15" fmla="*/ 2577 h 10000"/>
              <a:gd name="connsiteX16" fmla="*/ 1530 w 10000"/>
              <a:gd name="connsiteY16" fmla="*/ 2488 h 10000"/>
              <a:gd name="connsiteX17" fmla="*/ 1557 w 10000"/>
              <a:gd name="connsiteY17" fmla="*/ 1823 h 10000"/>
              <a:gd name="connsiteX18" fmla="*/ 1664 w 10000"/>
              <a:gd name="connsiteY18" fmla="*/ 2577 h 10000"/>
              <a:gd name="connsiteX19" fmla="*/ 1718 w 10000"/>
              <a:gd name="connsiteY19" fmla="*/ 2310 h 10000"/>
              <a:gd name="connsiteX20" fmla="*/ 1760 w 10000"/>
              <a:gd name="connsiteY20" fmla="*/ 1200 h 10000"/>
              <a:gd name="connsiteX21" fmla="*/ 1786 w 10000"/>
              <a:gd name="connsiteY21" fmla="*/ 2352 h 10000"/>
              <a:gd name="connsiteX22" fmla="*/ 1813 w 10000"/>
              <a:gd name="connsiteY22" fmla="*/ 2179 h 10000"/>
              <a:gd name="connsiteX23" fmla="*/ 1827 w 10000"/>
              <a:gd name="connsiteY23" fmla="*/ 2310 h 10000"/>
              <a:gd name="connsiteX24" fmla="*/ 1882 w 10000"/>
              <a:gd name="connsiteY24" fmla="*/ 1865 h 10000"/>
              <a:gd name="connsiteX25" fmla="*/ 1976 w 10000"/>
              <a:gd name="connsiteY25" fmla="*/ 2441 h 10000"/>
              <a:gd name="connsiteX26" fmla="*/ 1976 w 10000"/>
              <a:gd name="connsiteY26" fmla="*/ 2933 h 10000"/>
              <a:gd name="connsiteX27" fmla="*/ 2030 w 10000"/>
              <a:gd name="connsiteY27" fmla="*/ 3154 h 10000"/>
              <a:gd name="connsiteX28" fmla="*/ 2070 w 10000"/>
              <a:gd name="connsiteY28" fmla="*/ 2755 h 10000"/>
              <a:gd name="connsiteX29" fmla="*/ 2125 w 10000"/>
              <a:gd name="connsiteY29" fmla="*/ 3154 h 10000"/>
              <a:gd name="connsiteX30" fmla="*/ 2206 w 10000"/>
              <a:gd name="connsiteY30" fmla="*/ 1556 h 10000"/>
              <a:gd name="connsiteX31" fmla="*/ 2274 w 10000"/>
              <a:gd name="connsiteY31" fmla="*/ 3421 h 10000"/>
              <a:gd name="connsiteX32" fmla="*/ 2395 w 10000"/>
              <a:gd name="connsiteY32" fmla="*/ 2577 h 10000"/>
              <a:gd name="connsiteX33" fmla="*/ 2408 w 10000"/>
              <a:gd name="connsiteY33" fmla="*/ 2043 h 10000"/>
              <a:gd name="connsiteX34" fmla="*/ 2490 w 10000"/>
              <a:gd name="connsiteY34" fmla="*/ 2666 h 10000"/>
              <a:gd name="connsiteX35" fmla="*/ 2544 w 10000"/>
              <a:gd name="connsiteY35" fmla="*/ 2310 h 10000"/>
              <a:gd name="connsiteX36" fmla="*/ 2598 w 10000"/>
              <a:gd name="connsiteY36" fmla="*/ 2221 h 10000"/>
              <a:gd name="connsiteX37" fmla="*/ 2693 w 10000"/>
              <a:gd name="connsiteY37" fmla="*/ 1645 h 10000"/>
              <a:gd name="connsiteX38" fmla="*/ 2814 w 10000"/>
              <a:gd name="connsiteY38" fmla="*/ 1687 h 10000"/>
              <a:gd name="connsiteX39" fmla="*/ 3194 w 10000"/>
              <a:gd name="connsiteY39" fmla="*/ 2179 h 10000"/>
              <a:gd name="connsiteX40" fmla="*/ 3330 w 10000"/>
              <a:gd name="connsiteY40" fmla="*/ 4977 h 10000"/>
              <a:gd name="connsiteX41" fmla="*/ 3424 w 10000"/>
              <a:gd name="connsiteY41" fmla="*/ 5066 h 10000"/>
              <a:gd name="connsiteX42" fmla="*/ 3573 w 10000"/>
              <a:gd name="connsiteY42" fmla="*/ 4888 h 10000"/>
              <a:gd name="connsiteX43" fmla="*/ 3640 w 10000"/>
              <a:gd name="connsiteY43" fmla="*/ 4977 h 10000"/>
              <a:gd name="connsiteX44" fmla="*/ 3707 w 10000"/>
              <a:gd name="connsiteY44" fmla="*/ 4799 h 10000"/>
              <a:gd name="connsiteX45" fmla="*/ 3803 w 10000"/>
              <a:gd name="connsiteY45" fmla="*/ 1467 h 10000"/>
              <a:gd name="connsiteX46" fmla="*/ 3883 w 10000"/>
              <a:gd name="connsiteY46" fmla="*/ 1200 h 10000"/>
              <a:gd name="connsiteX47" fmla="*/ 4222 w 10000"/>
              <a:gd name="connsiteY47" fmla="*/ 6710 h 10000"/>
              <a:gd name="connsiteX48" fmla="*/ 4696 w 10000"/>
              <a:gd name="connsiteY48" fmla="*/ 6710 h 10000"/>
              <a:gd name="connsiteX49" fmla="*/ 5197 w 10000"/>
              <a:gd name="connsiteY49" fmla="*/ 754 h 10000"/>
              <a:gd name="connsiteX50" fmla="*/ 5534 w 10000"/>
              <a:gd name="connsiteY50" fmla="*/ 754 h 10000"/>
              <a:gd name="connsiteX51" fmla="*/ 5874 w 10000"/>
              <a:gd name="connsiteY51" fmla="*/ 1331 h 10000"/>
              <a:gd name="connsiteX52" fmla="*/ 5901 w 10000"/>
              <a:gd name="connsiteY52" fmla="*/ 712 h 10000"/>
              <a:gd name="connsiteX53" fmla="*/ 6035 w 10000"/>
              <a:gd name="connsiteY53" fmla="*/ 89 h 10000"/>
              <a:gd name="connsiteX54" fmla="*/ 6712 w 10000"/>
              <a:gd name="connsiteY54" fmla="*/ 0 h 10000"/>
              <a:gd name="connsiteX55" fmla="*/ 6942 w 10000"/>
              <a:gd name="connsiteY55" fmla="*/ 89 h 10000"/>
              <a:gd name="connsiteX56" fmla="*/ 7077 w 10000"/>
              <a:gd name="connsiteY56" fmla="*/ 356 h 10000"/>
              <a:gd name="connsiteX57" fmla="*/ 7443 w 10000"/>
              <a:gd name="connsiteY57" fmla="*/ 8754 h 10000"/>
              <a:gd name="connsiteX58" fmla="*/ 8214 w 10000"/>
              <a:gd name="connsiteY58" fmla="*/ 8711 h 10000"/>
              <a:gd name="connsiteX59" fmla="*/ 8376 w 10000"/>
              <a:gd name="connsiteY59" fmla="*/ 4667 h 10000"/>
              <a:gd name="connsiteX60" fmla="*/ 8552 w 10000"/>
              <a:gd name="connsiteY60" fmla="*/ 5019 h 10000"/>
              <a:gd name="connsiteX61" fmla="*/ 8646 w 10000"/>
              <a:gd name="connsiteY61" fmla="*/ 4709 h 10000"/>
              <a:gd name="connsiteX62" fmla="*/ 8688 w 10000"/>
              <a:gd name="connsiteY62" fmla="*/ 5197 h 10000"/>
              <a:gd name="connsiteX63" fmla="*/ 8728 w 10000"/>
              <a:gd name="connsiteY63" fmla="*/ 7287 h 10000"/>
              <a:gd name="connsiteX64" fmla="*/ 8810 w 10000"/>
              <a:gd name="connsiteY64" fmla="*/ 6396 h 10000"/>
              <a:gd name="connsiteX65" fmla="*/ 8904 w 10000"/>
              <a:gd name="connsiteY65" fmla="*/ 7821 h 10000"/>
              <a:gd name="connsiteX66" fmla="*/ 8958 w 10000"/>
              <a:gd name="connsiteY66" fmla="*/ 7910 h 10000"/>
              <a:gd name="connsiteX67" fmla="*/ 8998 w 10000"/>
              <a:gd name="connsiteY67" fmla="*/ 7821 h 10000"/>
              <a:gd name="connsiteX68" fmla="*/ 8998 w 10000"/>
              <a:gd name="connsiteY68" fmla="*/ 7643 h 10000"/>
              <a:gd name="connsiteX69" fmla="*/ 9107 w 10000"/>
              <a:gd name="connsiteY69" fmla="*/ 7821 h 10000"/>
              <a:gd name="connsiteX70" fmla="*/ 9174 w 10000"/>
              <a:gd name="connsiteY70" fmla="*/ 7685 h 10000"/>
              <a:gd name="connsiteX71" fmla="*/ 9202 w 10000"/>
              <a:gd name="connsiteY71" fmla="*/ 7334 h 10000"/>
              <a:gd name="connsiteX72" fmla="*/ 9243 w 10000"/>
              <a:gd name="connsiteY72" fmla="*/ 7685 h 10000"/>
              <a:gd name="connsiteX73" fmla="*/ 9310 w 10000"/>
              <a:gd name="connsiteY73" fmla="*/ 7512 h 10000"/>
              <a:gd name="connsiteX74" fmla="*/ 9418 w 10000"/>
              <a:gd name="connsiteY74" fmla="*/ 7554 h 10000"/>
              <a:gd name="connsiteX75" fmla="*/ 9445 w 10000"/>
              <a:gd name="connsiteY75" fmla="*/ 7774 h 10000"/>
              <a:gd name="connsiteX76" fmla="*/ 9486 w 10000"/>
              <a:gd name="connsiteY76" fmla="*/ 7821 h 10000"/>
              <a:gd name="connsiteX77" fmla="*/ 9526 w 10000"/>
              <a:gd name="connsiteY77" fmla="*/ 7685 h 10000"/>
              <a:gd name="connsiteX78" fmla="*/ 9581 w 10000"/>
              <a:gd name="connsiteY78" fmla="*/ 7774 h 10000"/>
              <a:gd name="connsiteX79" fmla="*/ 9635 w 10000"/>
              <a:gd name="connsiteY79" fmla="*/ 7245 h 10000"/>
              <a:gd name="connsiteX80" fmla="*/ 9717 w 10000"/>
              <a:gd name="connsiteY80" fmla="*/ 7821 h 10000"/>
              <a:gd name="connsiteX81" fmla="*/ 9824 w 10000"/>
              <a:gd name="connsiteY81" fmla="*/ 7465 h 10000"/>
              <a:gd name="connsiteX82" fmla="*/ 9851 w 10000"/>
              <a:gd name="connsiteY82" fmla="*/ 7245 h 10000"/>
              <a:gd name="connsiteX83" fmla="*/ 9918 w 10000"/>
              <a:gd name="connsiteY83" fmla="*/ 7465 h 10000"/>
              <a:gd name="connsiteX84" fmla="*/ 10000 w 10000"/>
              <a:gd name="connsiteY84" fmla="*/ 7376 h 10000"/>
              <a:gd name="connsiteX0" fmla="*/ 0 w 10000"/>
              <a:gd name="connsiteY0" fmla="*/ 10000 h 10000"/>
              <a:gd name="connsiteX1" fmla="*/ 446 w 10000"/>
              <a:gd name="connsiteY1" fmla="*/ 2043 h 10000"/>
              <a:gd name="connsiteX2" fmla="*/ 771 w 10000"/>
              <a:gd name="connsiteY2" fmla="*/ 2043 h 10000"/>
              <a:gd name="connsiteX3" fmla="*/ 838 w 10000"/>
              <a:gd name="connsiteY3" fmla="*/ 1687 h 10000"/>
              <a:gd name="connsiteX4" fmla="*/ 907 w 10000"/>
              <a:gd name="connsiteY4" fmla="*/ 1687 h 10000"/>
              <a:gd name="connsiteX5" fmla="*/ 947 w 10000"/>
              <a:gd name="connsiteY5" fmla="*/ 2441 h 10000"/>
              <a:gd name="connsiteX6" fmla="*/ 1042 w 10000"/>
              <a:gd name="connsiteY6" fmla="*/ 1645 h 10000"/>
              <a:gd name="connsiteX7" fmla="*/ 1150 w 10000"/>
              <a:gd name="connsiteY7" fmla="*/ 2441 h 10000"/>
              <a:gd name="connsiteX8" fmla="*/ 1205 w 10000"/>
              <a:gd name="connsiteY8" fmla="*/ 1645 h 10000"/>
              <a:gd name="connsiteX9" fmla="*/ 1259 w 10000"/>
              <a:gd name="connsiteY9" fmla="*/ 1912 h 10000"/>
              <a:gd name="connsiteX10" fmla="*/ 1299 w 10000"/>
              <a:gd name="connsiteY10" fmla="*/ 1556 h 10000"/>
              <a:gd name="connsiteX11" fmla="*/ 1339 w 10000"/>
              <a:gd name="connsiteY11" fmla="*/ 2530 h 10000"/>
              <a:gd name="connsiteX12" fmla="*/ 1421 w 10000"/>
              <a:gd name="connsiteY12" fmla="*/ 1378 h 10000"/>
              <a:gd name="connsiteX13" fmla="*/ 1435 w 10000"/>
              <a:gd name="connsiteY13" fmla="*/ 2310 h 10000"/>
              <a:gd name="connsiteX14" fmla="*/ 1488 w 10000"/>
              <a:gd name="connsiteY14" fmla="*/ 2577 h 10000"/>
              <a:gd name="connsiteX15" fmla="*/ 1530 w 10000"/>
              <a:gd name="connsiteY15" fmla="*/ 2488 h 10000"/>
              <a:gd name="connsiteX16" fmla="*/ 1557 w 10000"/>
              <a:gd name="connsiteY16" fmla="*/ 1823 h 10000"/>
              <a:gd name="connsiteX17" fmla="*/ 1664 w 10000"/>
              <a:gd name="connsiteY17" fmla="*/ 2577 h 10000"/>
              <a:gd name="connsiteX18" fmla="*/ 1718 w 10000"/>
              <a:gd name="connsiteY18" fmla="*/ 2310 h 10000"/>
              <a:gd name="connsiteX19" fmla="*/ 1760 w 10000"/>
              <a:gd name="connsiteY19" fmla="*/ 1200 h 10000"/>
              <a:gd name="connsiteX20" fmla="*/ 1786 w 10000"/>
              <a:gd name="connsiteY20" fmla="*/ 2352 h 10000"/>
              <a:gd name="connsiteX21" fmla="*/ 1813 w 10000"/>
              <a:gd name="connsiteY21" fmla="*/ 2179 h 10000"/>
              <a:gd name="connsiteX22" fmla="*/ 1827 w 10000"/>
              <a:gd name="connsiteY22" fmla="*/ 2310 h 10000"/>
              <a:gd name="connsiteX23" fmla="*/ 1882 w 10000"/>
              <a:gd name="connsiteY23" fmla="*/ 1865 h 10000"/>
              <a:gd name="connsiteX24" fmla="*/ 1976 w 10000"/>
              <a:gd name="connsiteY24" fmla="*/ 2441 h 10000"/>
              <a:gd name="connsiteX25" fmla="*/ 1976 w 10000"/>
              <a:gd name="connsiteY25" fmla="*/ 2933 h 10000"/>
              <a:gd name="connsiteX26" fmla="*/ 2030 w 10000"/>
              <a:gd name="connsiteY26" fmla="*/ 3154 h 10000"/>
              <a:gd name="connsiteX27" fmla="*/ 2070 w 10000"/>
              <a:gd name="connsiteY27" fmla="*/ 2755 h 10000"/>
              <a:gd name="connsiteX28" fmla="*/ 2125 w 10000"/>
              <a:gd name="connsiteY28" fmla="*/ 3154 h 10000"/>
              <a:gd name="connsiteX29" fmla="*/ 2206 w 10000"/>
              <a:gd name="connsiteY29" fmla="*/ 1556 h 10000"/>
              <a:gd name="connsiteX30" fmla="*/ 2274 w 10000"/>
              <a:gd name="connsiteY30" fmla="*/ 3421 h 10000"/>
              <a:gd name="connsiteX31" fmla="*/ 2395 w 10000"/>
              <a:gd name="connsiteY31" fmla="*/ 2577 h 10000"/>
              <a:gd name="connsiteX32" fmla="*/ 2408 w 10000"/>
              <a:gd name="connsiteY32" fmla="*/ 2043 h 10000"/>
              <a:gd name="connsiteX33" fmla="*/ 2490 w 10000"/>
              <a:gd name="connsiteY33" fmla="*/ 2666 h 10000"/>
              <a:gd name="connsiteX34" fmla="*/ 2544 w 10000"/>
              <a:gd name="connsiteY34" fmla="*/ 2310 h 10000"/>
              <a:gd name="connsiteX35" fmla="*/ 2598 w 10000"/>
              <a:gd name="connsiteY35" fmla="*/ 2221 h 10000"/>
              <a:gd name="connsiteX36" fmla="*/ 2693 w 10000"/>
              <a:gd name="connsiteY36" fmla="*/ 1645 h 10000"/>
              <a:gd name="connsiteX37" fmla="*/ 2814 w 10000"/>
              <a:gd name="connsiteY37" fmla="*/ 1687 h 10000"/>
              <a:gd name="connsiteX38" fmla="*/ 3194 w 10000"/>
              <a:gd name="connsiteY38" fmla="*/ 2179 h 10000"/>
              <a:gd name="connsiteX39" fmla="*/ 3330 w 10000"/>
              <a:gd name="connsiteY39" fmla="*/ 4977 h 10000"/>
              <a:gd name="connsiteX40" fmla="*/ 3424 w 10000"/>
              <a:gd name="connsiteY40" fmla="*/ 5066 h 10000"/>
              <a:gd name="connsiteX41" fmla="*/ 3573 w 10000"/>
              <a:gd name="connsiteY41" fmla="*/ 4888 h 10000"/>
              <a:gd name="connsiteX42" fmla="*/ 3640 w 10000"/>
              <a:gd name="connsiteY42" fmla="*/ 4977 h 10000"/>
              <a:gd name="connsiteX43" fmla="*/ 3707 w 10000"/>
              <a:gd name="connsiteY43" fmla="*/ 4799 h 10000"/>
              <a:gd name="connsiteX44" fmla="*/ 3803 w 10000"/>
              <a:gd name="connsiteY44" fmla="*/ 1467 h 10000"/>
              <a:gd name="connsiteX45" fmla="*/ 3883 w 10000"/>
              <a:gd name="connsiteY45" fmla="*/ 1200 h 10000"/>
              <a:gd name="connsiteX46" fmla="*/ 4222 w 10000"/>
              <a:gd name="connsiteY46" fmla="*/ 6710 h 10000"/>
              <a:gd name="connsiteX47" fmla="*/ 4696 w 10000"/>
              <a:gd name="connsiteY47" fmla="*/ 6710 h 10000"/>
              <a:gd name="connsiteX48" fmla="*/ 5197 w 10000"/>
              <a:gd name="connsiteY48" fmla="*/ 754 h 10000"/>
              <a:gd name="connsiteX49" fmla="*/ 5534 w 10000"/>
              <a:gd name="connsiteY49" fmla="*/ 754 h 10000"/>
              <a:gd name="connsiteX50" fmla="*/ 5874 w 10000"/>
              <a:gd name="connsiteY50" fmla="*/ 1331 h 10000"/>
              <a:gd name="connsiteX51" fmla="*/ 5901 w 10000"/>
              <a:gd name="connsiteY51" fmla="*/ 712 h 10000"/>
              <a:gd name="connsiteX52" fmla="*/ 6035 w 10000"/>
              <a:gd name="connsiteY52" fmla="*/ 89 h 10000"/>
              <a:gd name="connsiteX53" fmla="*/ 6712 w 10000"/>
              <a:gd name="connsiteY53" fmla="*/ 0 h 10000"/>
              <a:gd name="connsiteX54" fmla="*/ 6942 w 10000"/>
              <a:gd name="connsiteY54" fmla="*/ 89 h 10000"/>
              <a:gd name="connsiteX55" fmla="*/ 7077 w 10000"/>
              <a:gd name="connsiteY55" fmla="*/ 356 h 10000"/>
              <a:gd name="connsiteX56" fmla="*/ 7443 w 10000"/>
              <a:gd name="connsiteY56" fmla="*/ 8754 h 10000"/>
              <a:gd name="connsiteX57" fmla="*/ 8214 w 10000"/>
              <a:gd name="connsiteY57" fmla="*/ 8711 h 10000"/>
              <a:gd name="connsiteX58" fmla="*/ 8376 w 10000"/>
              <a:gd name="connsiteY58" fmla="*/ 4667 h 10000"/>
              <a:gd name="connsiteX59" fmla="*/ 8552 w 10000"/>
              <a:gd name="connsiteY59" fmla="*/ 5019 h 10000"/>
              <a:gd name="connsiteX60" fmla="*/ 8646 w 10000"/>
              <a:gd name="connsiteY60" fmla="*/ 4709 h 10000"/>
              <a:gd name="connsiteX61" fmla="*/ 8688 w 10000"/>
              <a:gd name="connsiteY61" fmla="*/ 5197 h 10000"/>
              <a:gd name="connsiteX62" fmla="*/ 8728 w 10000"/>
              <a:gd name="connsiteY62" fmla="*/ 7287 h 10000"/>
              <a:gd name="connsiteX63" fmla="*/ 8810 w 10000"/>
              <a:gd name="connsiteY63" fmla="*/ 6396 h 10000"/>
              <a:gd name="connsiteX64" fmla="*/ 8904 w 10000"/>
              <a:gd name="connsiteY64" fmla="*/ 7821 h 10000"/>
              <a:gd name="connsiteX65" fmla="*/ 8958 w 10000"/>
              <a:gd name="connsiteY65" fmla="*/ 7910 h 10000"/>
              <a:gd name="connsiteX66" fmla="*/ 8998 w 10000"/>
              <a:gd name="connsiteY66" fmla="*/ 7821 h 10000"/>
              <a:gd name="connsiteX67" fmla="*/ 8998 w 10000"/>
              <a:gd name="connsiteY67" fmla="*/ 7643 h 10000"/>
              <a:gd name="connsiteX68" fmla="*/ 9107 w 10000"/>
              <a:gd name="connsiteY68" fmla="*/ 7821 h 10000"/>
              <a:gd name="connsiteX69" fmla="*/ 9174 w 10000"/>
              <a:gd name="connsiteY69" fmla="*/ 7685 h 10000"/>
              <a:gd name="connsiteX70" fmla="*/ 9202 w 10000"/>
              <a:gd name="connsiteY70" fmla="*/ 7334 h 10000"/>
              <a:gd name="connsiteX71" fmla="*/ 9243 w 10000"/>
              <a:gd name="connsiteY71" fmla="*/ 7685 h 10000"/>
              <a:gd name="connsiteX72" fmla="*/ 9310 w 10000"/>
              <a:gd name="connsiteY72" fmla="*/ 7512 h 10000"/>
              <a:gd name="connsiteX73" fmla="*/ 9418 w 10000"/>
              <a:gd name="connsiteY73" fmla="*/ 7554 h 10000"/>
              <a:gd name="connsiteX74" fmla="*/ 9445 w 10000"/>
              <a:gd name="connsiteY74" fmla="*/ 7774 h 10000"/>
              <a:gd name="connsiteX75" fmla="*/ 9486 w 10000"/>
              <a:gd name="connsiteY75" fmla="*/ 7821 h 10000"/>
              <a:gd name="connsiteX76" fmla="*/ 9526 w 10000"/>
              <a:gd name="connsiteY76" fmla="*/ 7685 h 10000"/>
              <a:gd name="connsiteX77" fmla="*/ 9581 w 10000"/>
              <a:gd name="connsiteY77" fmla="*/ 7774 h 10000"/>
              <a:gd name="connsiteX78" fmla="*/ 9635 w 10000"/>
              <a:gd name="connsiteY78" fmla="*/ 7245 h 10000"/>
              <a:gd name="connsiteX79" fmla="*/ 9717 w 10000"/>
              <a:gd name="connsiteY79" fmla="*/ 7821 h 10000"/>
              <a:gd name="connsiteX80" fmla="*/ 9824 w 10000"/>
              <a:gd name="connsiteY80" fmla="*/ 7465 h 10000"/>
              <a:gd name="connsiteX81" fmla="*/ 9851 w 10000"/>
              <a:gd name="connsiteY81" fmla="*/ 7245 h 10000"/>
              <a:gd name="connsiteX82" fmla="*/ 9918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713 w 10000"/>
              <a:gd name="connsiteY1" fmla="*/ 2873 h 10000"/>
              <a:gd name="connsiteX2" fmla="*/ 771 w 10000"/>
              <a:gd name="connsiteY2" fmla="*/ 2043 h 10000"/>
              <a:gd name="connsiteX3" fmla="*/ 838 w 10000"/>
              <a:gd name="connsiteY3" fmla="*/ 1687 h 10000"/>
              <a:gd name="connsiteX4" fmla="*/ 907 w 10000"/>
              <a:gd name="connsiteY4" fmla="*/ 1687 h 10000"/>
              <a:gd name="connsiteX5" fmla="*/ 947 w 10000"/>
              <a:gd name="connsiteY5" fmla="*/ 2441 h 10000"/>
              <a:gd name="connsiteX6" fmla="*/ 1042 w 10000"/>
              <a:gd name="connsiteY6" fmla="*/ 1645 h 10000"/>
              <a:gd name="connsiteX7" fmla="*/ 1150 w 10000"/>
              <a:gd name="connsiteY7" fmla="*/ 2441 h 10000"/>
              <a:gd name="connsiteX8" fmla="*/ 1205 w 10000"/>
              <a:gd name="connsiteY8" fmla="*/ 1645 h 10000"/>
              <a:gd name="connsiteX9" fmla="*/ 1259 w 10000"/>
              <a:gd name="connsiteY9" fmla="*/ 1912 h 10000"/>
              <a:gd name="connsiteX10" fmla="*/ 1299 w 10000"/>
              <a:gd name="connsiteY10" fmla="*/ 1556 h 10000"/>
              <a:gd name="connsiteX11" fmla="*/ 1339 w 10000"/>
              <a:gd name="connsiteY11" fmla="*/ 2530 h 10000"/>
              <a:gd name="connsiteX12" fmla="*/ 1421 w 10000"/>
              <a:gd name="connsiteY12" fmla="*/ 1378 h 10000"/>
              <a:gd name="connsiteX13" fmla="*/ 1435 w 10000"/>
              <a:gd name="connsiteY13" fmla="*/ 2310 h 10000"/>
              <a:gd name="connsiteX14" fmla="*/ 1488 w 10000"/>
              <a:gd name="connsiteY14" fmla="*/ 2577 h 10000"/>
              <a:gd name="connsiteX15" fmla="*/ 1530 w 10000"/>
              <a:gd name="connsiteY15" fmla="*/ 2488 h 10000"/>
              <a:gd name="connsiteX16" fmla="*/ 1557 w 10000"/>
              <a:gd name="connsiteY16" fmla="*/ 1823 h 10000"/>
              <a:gd name="connsiteX17" fmla="*/ 1664 w 10000"/>
              <a:gd name="connsiteY17" fmla="*/ 2577 h 10000"/>
              <a:gd name="connsiteX18" fmla="*/ 1718 w 10000"/>
              <a:gd name="connsiteY18" fmla="*/ 2310 h 10000"/>
              <a:gd name="connsiteX19" fmla="*/ 1760 w 10000"/>
              <a:gd name="connsiteY19" fmla="*/ 1200 h 10000"/>
              <a:gd name="connsiteX20" fmla="*/ 1786 w 10000"/>
              <a:gd name="connsiteY20" fmla="*/ 2352 h 10000"/>
              <a:gd name="connsiteX21" fmla="*/ 1813 w 10000"/>
              <a:gd name="connsiteY21" fmla="*/ 2179 h 10000"/>
              <a:gd name="connsiteX22" fmla="*/ 1827 w 10000"/>
              <a:gd name="connsiteY22" fmla="*/ 2310 h 10000"/>
              <a:gd name="connsiteX23" fmla="*/ 1882 w 10000"/>
              <a:gd name="connsiteY23" fmla="*/ 1865 h 10000"/>
              <a:gd name="connsiteX24" fmla="*/ 1976 w 10000"/>
              <a:gd name="connsiteY24" fmla="*/ 2441 h 10000"/>
              <a:gd name="connsiteX25" fmla="*/ 1976 w 10000"/>
              <a:gd name="connsiteY25" fmla="*/ 2933 h 10000"/>
              <a:gd name="connsiteX26" fmla="*/ 2030 w 10000"/>
              <a:gd name="connsiteY26" fmla="*/ 3154 h 10000"/>
              <a:gd name="connsiteX27" fmla="*/ 2070 w 10000"/>
              <a:gd name="connsiteY27" fmla="*/ 2755 h 10000"/>
              <a:gd name="connsiteX28" fmla="*/ 2125 w 10000"/>
              <a:gd name="connsiteY28" fmla="*/ 3154 h 10000"/>
              <a:gd name="connsiteX29" fmla="*/ 2206 w 10000"/>
              <a:gd name="connsiteY29" fmla="*/ 1556 h 10000"/>
              <a:gd name="connsiteX30" fmla="*/ 2274 w 10000"/>
              <a:gd name="connsiteY30" fmla="*/ 3421 h 10000"/>
              <a:gd name="connsiteX31" fmla="*/ 2395 w 10000"/>
              <a:gd name="connsiteY31" fmla="*/ 2577 h 10000"/>
              <a:gd name="connsiteX32" fmla="*/ 2408 w 10000"/>
              <a:gd name="connsiteY32" fmla="*/ 2043 h 10000"/>
              <a:gd name="connsiteX33" fmla="*/ 2490 w 10000"/>
              <a:gd name="connsiteY33" fmla="*/ 2666 h 10000"/>
              <a:gd name="connsiteX34" fmla="*/ 2544 w 10000"/>
              <a:gd name="connsiteY34" fmla="*/ 2310 h 10000"/>
              <a:gd name="connsiteX35" fmla="*/ 2598 w 10000"/>
              <a:gd name="connsiteY35" fmla="*/ 2221 h 10000"/>
              <a:gd name="connsiteX36" fmla="*/ 2693 w 10000"/>
              <a:gd name="connsiteY36" fmla="*/ 1645 h 10000"/>
              <a:gd name="connsiteX37" fmla="*/ 2814 w 10000"/>
              <a:gd name="connsiteY37" fmla="*/ 1687 h 10000"/>
              <a:gd name="connsiteX38" fmla="*/ 3194 w 10000"/>
              <a:gd name="connsiteY38" fmla="*/ 2179 h 10000"/>
              <a:gd name="connsiteX39" fmla="*/ 3330 w 10000"/>
              <a:gd name="connsiteY39" fmla="*/ 4977 h 10000"/>
              <a:gd name="connsiteX40" fmla="*/ 3424 w 10000"/>
              <a:gd name="connsiteY40" fmla="*/ 5066 h 10000"/>
              <a:gd name="connsiteX41" fmla="*/ 3573 w 10000"/>
              <a:gd name="connsiteY41" fmla="*/ 4888 h 10000"/>
              <a:gd name="connsiteX42" fmla="*/ 3640 w 10000"/>
              <a:gd name="connsiteY42" fmla="*/ 4977 h 10000"/>
              <a:gd name="connsiteX43" fmla="*/ 3707 w 10000"/>
              <a:gd name="connsiteY43" fmla="*/ 4799 h 10000"/>
              <a:gd name="connsiteX44" fmla="*/ 3803 w 10000"/>
              <a:gd name="connsiteY44" fmla="*/ 1467 h 10000"/>
              <a:gd name="connsiteX45" fmla="*/ 3883 w 10000"/>
              <a:gd name="connsiteY45" fmla="*/ 1200 h 10000"/>
              <a:gd name="connsiteX46" fmla="*/ 4222 w 10000"/>
              <a:gd name="connsiteY46" fmla="*/ 6710 h 10000"/>
              <a:gd name="connsiteX47" fmla="*/ 4696 w 10000"/>
              <a:gd name="connsiteY47" fmla="*/ 6710 h 10000"/>
              <a:gd name="connsiteX48" fmla="*/ 5197 w 10000"/>
              <a:gd name="connsiteY48" fmla="*/ 754 h 10000"/>
              <a:gd name="connsiteX49" fmla="*/ 5534 w 10000"/>
              <a:gd name="connsiteY49" fmla="*/ 754 h 10000"/>
              <a:gd name="connsiteX50" fmla="*/ 5874 w 10000"/>
              <a:gd name="connsiteY50" fmla="*/ 1331 h 10000"/>
              <a:gd name="connsiteX51" fmla="*/ 5901 w 10000"/>
              <a:gd name="connsiteY51" fmla="*/ 712 h 10000"/>
              <a:gd name="connsiteX52" fmla="*/ 6035 w 10000"/>
              <a:gd name="connsiteY52" fmla="*/ 89 h 10000"/>
              <a:gd name="connsiteX53" fmla="*/ 6712 w 10000"/>
              <a:gd name="connsiteY53" fmla="*/ 0 h 10000"/>
              <a:gd name="connsiteX54" fmla="*/ 6942 w 10000"/>
              <a:gd name="connsiteY54" fmla="*/ 89 h 10000"/>
              <a:gd name="connsiteX55" fmla="*/ 7077 w 10000"/>
              <a:gd name="connsiteY55" fmla="*/ 356 h 10000"/>
              <a:gd name="connsiteX56" fmla="*/ 7443 w 10000"/>
              <a:gd name="connsiteY56" fmla="*/ 8754 h 10000"/>
              <a:gd name="connsiteX57" fmla="*/ 8214 w 10000"/>
              <a:gd name="connsiteY57" fmla="*/ 8711 h 10000"/>
              <a:gd name="connsiteX58" fmla="*/ 8376 w 10000"/>
              <a:gd name="connsiteY58" fmla="*/ 4667 h 10000"/>
              <a:gd name="connsiteX59" fmla="*/ 8552 w 10000"/>
              <a:gd name="connsiteY59" fmla="*/ 5019 h 10000"/>
              <a:gd name="connsiteX60" fmla="*/ 8646 w 10000"/>
              <a:gd name="connsiteY60" fmla="*/ 4709 h 10000"/>
              <a:gd name="connsiteX61" fmla="*/ 8688 w 10000"/>
              <a:gd name="connsiteY61" fmla="*/ 5197 h 10000"/>
              <a:gd name="connsiteX62" fmla="*/ 8728 w 10000"/>
              <a:gd name="connsiteY62" fmla="*/ 7287 h 10000"/>
              <a:gd name="connsiteX63" fmla="*/ 8810 w 10000"/>
              <a:gd name="connsiteY63" fmla="*/ 6396 h 10000"/>
              <a:gd name="connsiteX64" fmla="*/ 8904 w 10000"/>
              <a:gd name="connsiteY64" fmla="*/ 7821 h 10000"/>
              <a:gd name="connsiteX65" fmla="*/ 8958 w 10000"/>
              <a:gd name="connsiteY65" fmla="*/ 7910 h 10000"/>
              <a:gd name="connsiteX66" fmla="*/ 8998 w 10000"/>
              <a:gd name="connsiteY66" fmla="*/ 7821 h 10000"/>
              <a:gd name="connsiteX67" fmla="*/ 8998 w 10000"/>
              <a:gd name="connsiteY67" fmla="*/ 7643 h 10000"/>
              <a:gd name="connsiteX68" fmla="*/ 9107 w 10000"/>
              <a:gd name="connsiteY68" fmla="*/ 7821 h 10000"/>
              <a:gd name="connsiteX69" fmla="*/ 9174 w 10000"/>
              <a:gd name="connsiteY69" fmla="*/ 7685 h 10000"/>
              <a:gd name="connsiteX70" fmla="*/ 9202 w 10000"/>
              <a:gd name="connsiteY70" fmla="*/ 7334 h 10000"/>
              <a:gd name="connsiteX71" fmla="*/ 9243 w 10000"/>
              <a:gd name="connsiteY71" fmla="*/ 7685 h 10000"/>
              <a:gd name="connsiteX72" fmla="*/ 9310 w 10000"/>
              <a:gd name="connsiteY72" fmla="*/ 7512 h 10000"/>
              <a:gd name="connsiteX73" fmla="*/ 9418 w 10000"/>
              <a:gd name="connsiteY73" fmla="*/ 7554 h 10000"/>
              <a:gd name="connsiteX74" fmla="*/ 9445 w 10000"/>
              <a:gd name="connsiteY74" fmla="*/ 7774 h 10000"/>
              <a:gd name="connsiteX75" fmla="*/ 9486 w 10000"/>
              <a:gd name="connsiteY75" fmla="*/ 7821 h 10000"/>
              <a:gd name="connsiteX76" fmla="*/ 9526 w 10000"/>
              <a:gd name="connsiteY76" fmla="*/ 7685 h 10000"/>
              <a:gd name="connsiteX77" fmla="*/ 9581 w 10000"/>
              <a:gd name="connsiteY77" fmla="*/ 7774 h 10000"/>
              <a:gd name="connsiteX78" fmla="*/ 9635 w 10000"/>
              <a:gd name="connsiteY78" fmla="*/ 7245 h 10000"/>
              <a:gd name="connsiteX79" fmla="*/ 9717 w 10000"/>
              <a:gd name="connsiteY79" fmla="*/ 7821 h 10000"/>
              <a:gd name="connsiteX80" fmla="*/ 9824 w 10000"/>
              <a:gd name="connsiteY80" fmla="*/ 7465 h 10000"/>
              <a:gd name="connsiteX81" fmla="*/ 9851 w 10000"/>
              <a:gd name="connsiteY81" fmla="*/ 7245 h 10000"/>
              <a:gd name="connsiteX82" fmla="*/ 9918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662 w 10000"/>
              <a:gd name="connsiteY1" fmla="*/ 2165 h 10000"/>
              <a:gd name="connsiteX2" fmla="*/ 771 w 10000"/>
              <a:gd name="connsiteY2" fmla="*/ 2043 h 10000"/>
              <a:gd name="connsiteX3" fmla="*/ 838 w 10000"/>
              <a:gd name="connsiteY3" fmla="*/ 1687 h 10000"/>
              <a:gd name="connsiteX4" fmla="*/ 907 w 10000"/>
              <a:gd name="connsiteY4" fmla="*/ 1687 h 10000"/>
              <a:gd name="connsiteX5" fmla="*/ 947 w 10000"/>
              <a:gd name="connsiteY5" fmla="*/ 2441 h 10000"/>
              <a:gd name="connsiteX6" fmla="*/ 1042 w 10000"/>
              <a:gd name="connsiteY6" fmla="*/ 1645 h 10000"/>
              <a:gd name="connsiteX7" fmla="*/ 1150 w 10000"/>
              <a:gd name="connsiteY7" fmla="*/ 2441 h 10000"/>
              <a:gd name="connsiteX8" fmla="*/ 1205 w 10000"/>
              <a:gd name="connsiteY8" fmla="*/ 1645 h 10000"/>
              <a:gd name="connsiteX9" fmla="*/ 1259 w 10000"/>
              <a:gd name="connsiteY9" fmla="*/ 1912 h 10000"/>
              <a:gd name="connsiteX10" fmla="*/ 1299 w 10000"/>
              <a:gd name="connsiteY10" fmla="*/ 1556 h 10000"/>
              <a:gd name="connsiteX11" fmla="*/ 1339 w 10000"/>
              <a:gd name="connsiteY11" fmla="*/ 2530 h 10000"/>
              <a:gd name="connsiteX12" fmla="*/ 1421 w 10000"/>
              <a:gd name="connsiteY12" fmla="*/ 1378 h 10000"/>
              <a:gd name="connsiteX13" fmla="*/ 1435 w 10000"/>
              <a:gd name="connsiteY13" fmla="*/ 2310 h 10000"/>
              <a:gd name="connsiteX14" fmla="*/ 1488 w 10000"/>
              <a:gd name="connsiteY14" fmla="*/ 2577 h 10000"/>
              <a:gd name="connsiteX15" fmla="*/ 1530 w 10000"/>
              <a:gd name="connsiteY15" fmla="*/ 2488 h 10000"/>
              <a:gd name="connsiteX16" fmla="*/ 1557 w 10000"/>
              <a:gd name="connsiteY16" fmla="*/ 1823 h 10000"/>
              <a:gd name="connsiteX17" fmla="*/ 1664 w 10000"/>
              <a:gd name="connsiteY17" fmla="*/ 2577 h 10000"/>
              <a:gd name="connsiteX18" fmla="*/ 1718 w 10000"/>
              <a:gd name="connsiteY18" fmla="*/ 2310 h 10000"/>
              <a:gd name="connsiteX19" fmla="*/ 1760 w 10000"/>
              <a:gd name="connsiteY19" fmla="*/ 1200 h 10000"/>
              <a:gd name="connsiteX20" fmla="*/ 1786 w 10000"/>
              <a:gd name="connsiteY20" fmla="*/ 2352 h 10000"/>
              <a:gd name="connsiteX21" fmla="*/ 1813 w 10000"/>
              <a:gd name="connsiteY21" fmla="*/ 2179 h 10000"/>
              <a:gd name="connsiteX22" fmla="*/ 1827 w 10000"/>
              <a:gd name="connsiteY22" fmla="*/ 2310 h 10000"/>
              <a:gd name="connsiteX23" fmla="*/ 1882 w 10000"/>
              <a:gd name="connsiteY23" fmla="*/ 1865 h 10000"/>
              <a:gd name="connsiteX24" fmla="*/ 1976 w 10000"/>
              <a:gd name="connsiteY24" fmla="*/ 2441 h 10000"/>
              <a:gd name="connsiteX25" fmla="*/ 1976 w 10000"/>
              <a:gd name="connsiteY25" fmla="*/ 2933 h 10000"/>
              <a:gd name="connsiteX26" fmla="*/ 2030 w 10000"/>
              <a:gd name="connsiteY26" fmla="*/ 3154 h 10000"/>
              <a:gd name="connsiteX27" fmla="*/ 2070 w 10000"/>
              <a:gd name="connsiteY27" fmla="*/ 2755 h 10000"/>
              <a:gd name="connsiteX28" fmla="*/ 2125 w 10000"/>
              <a:gd name="connsiteY28" fmla="*/ 3154 h 10000"/>
              <a:gd name="connsiteX29" fmla="*/ 2206 w 10000"/>
              <a:gd name="connsiteY29" fmla="*/ 1556 h 10000"/>
              <a:gd name="connsiteX30" fmla="*/ 2274 w 10000"/>
              <a:gd name="connsiteY30" fmla="*/ 3421 h 10000"/>
              <a:gd name="connsiteX31" fmla="*/ 2395 w 10000"/>
              <a:gd name="connsiteY31" fmla="*/ 2577 h 10000"/>
              <a:gd name="connsiteX32" fmla="*/ 2408 w 10000"/>
              <a:gd name="connsiteY32" fmla="*/ 2043 h 10000"/>
              <a:gd name="connsiteX33" fmla="*/ 2490 w 10000"/>
              <a:gd name="connsiteY33" fmla="*/ 2666 h 10000"/>
              <a:gd name="connsiteX34" fmla="*/ 2544 w 10000"/>
              <a:gd name="connsiteY34" fmla="*/ 2310 h 10000"/>
              <a:gd name="connsiteX35" fmla="*/ 2598 w 10000"/>
              <a:gd name="connsiteY35" fmla="*/ 2221 h 10000"/>
              <a:gd name="connsiteX36" fmla="*/ 2693 w 10000"/>
              <a:gd name="connsiteY36" fmla="*/ 1645 h 10000"/>
              <a:gd name="connsiteX37" fmla="*/ 2814 w 10000"/>
              <a:gd name="connsiteY37" fmla="*/ 1687 h 10000"/>
              <a:gd name="connsiteX38" fmla="*/ 3194 w 10000"/>
              <a:gd name="connsiteY38" fmla="*/ 2179 h 10000"/>
              <a:gd name="connsiteX39" fmla="*/ 3330 w 10000"/>
              <a:gd name="connsiteY39" fmla="*/ 4977 h 10000"/>
              <a:gd name="connsiteX40" fmla="*/ 3424 w 10000"/>
              <a:gd name="connsiteY40" fmla="*/ 5066 h 10000"/>
              <a:gd name="connsiteX41" fmla="*/ 3573 w 10000"/>
              <a:gd name="connsiteY41" fmla="*/ 4888 h 10000"/>
              <a:gd name="connsiteX42" fmla="*/ 3640 w 10000"/>
              <a:gd name="connsiteY42" fmla="*/ 4977 h 10000"/>
              <a:gd name="connsiteX43" fmla="*/ 3707 w 10000"/>
              <a:gd name="connsiteY43" fmla="*/ 4799 h 10000"/>
              <a:gd name="connsiteX44" fmla="*/ 3803 w 10000"/>
              <a:gd name="connsiteY44" fmla="*/ 1467 h 10000"/>
              <a:gd name="connsiteX45" fmla="*/ 3883 w 10000"/>
              <a:gd name="connsiteY45" fmla="*/ 1200 h 10000"/>
              <a:gd name="connsiteX46" fmla="*/ 4222 w 10000"/>
              <a:gd name="connsiteY46" fmla="*/ 6710 h 10000"/>
              <a:gd name="connsiteX47" fmla="*/ 4696 w 10000"/>
              <a:gd name="connsiteY47" fmla="*/ 6710 h 10000"/>
              <a:gd name="connsiteX48" fmla="*/ 5197 w 10000"/>
              <a:gd name="connsiteY48" fmla="*/ 754 h 10000"/>
              <a:gd name="connsiteX49" fmla="*/ 5534 w 10000"/>
              <a:gd name="connsiteY49" fmla="*/ 754 h 10000"/>
              <a:gd name="connsiteX50" fmla="*/ 5874 w 10000"/>
              <a:gd name="connsiteY50" fmla="*/ 1331 h 10000"/>
              <a:gd name="connsiteX51" fmla="*/ 5901 w 10000"/>
              <a:gd name="connsiteY51" fmla="*/ 712 h 10000"/>
              <a:gd name="connsiteX52" fmla="*/ 6035 w 10000"/>
              <a:gd name="connsiteY52" fmla="*/ 89 h 10000"/>
              <a:gd name="connsiteX53" fmla="*/ 6712 w 10000"/>
              <a:gd name="connsiteY53" fmla="*/ 0 h 10000"/>
              <a:gd name="connsiteX54" fmla="*/ 6942 w 10000"/>
              <a:gd name="connsiteY54" fmla="*/ 89 h 10000"/>
              <a:gd name="connsiteX55" fmla="*/ 7077 w 10000"/>
              <a:gd name="connsiteY55" fmla="*/ 356 h 10000"/>
              <a:gd name="connsiteX56" fmla="*/ 7443 w 10000"/>
              <a:gd name="connsiteY56" fmla="*/ 8754 h 10000"/>
              <a:gd name="connsiteX57" fmla="*/ 8214 w 10000"/>
              <a:gd name="connsiteY57" fmla="*/ 8711 h 10000"/>
              <a:gd name="connsiteX58" fmla="*/ 8376 w 10000"/>
              <a:gd name="connsiteY58" fmla="*/ 4667 h 10000"/>
              <a:gd name="connsiteX59" fmla="*/ 8552 w 10000"/>
              <a:gd name="connsiteY59" fmla="*/ 5019 h 10000"/>
              <a:gd name="connsiteX60" fmla="*/ 8646 w 10000"/>
              <a:gd name="connsiteY60" fmla="*/ 4709 h 10000"/>
              <a:gd name="connsiteX61" fmla="*/ 8688 w 10000"/>
              <a:gd name="connsiteY61" fmla="*/ 5197 h 10000"/>
              <a:gd name="connsiteX62" fmla="*/ 8728 w 10000"/>
              <a:gd name="connsiteY62" fmla="*/ 7287 h 10000"/>
              <a:gd name="connsiteX63" fmla="*/ 8810 w 10000"/>
              <a:gd name="connsiteY63" fmla="*/ 6396 h 10000"/>
              <a:gd name="connsiteX64" fmla="*/ 8904 w 10000"/>
              <a:gd name="connsiteY64" fmla="*/ 7821 h 10000"/>
              <a:gd name="connsiteX65" fmla="*/ 8958 w 10000"/>
              <a:gd name="connsiteY65" fmla="*/ 7910 h 10000"/>
              <a:gd name="connsiteX66" fmla="*/ 8998 w 10000"/>
              <a:gd name="connsiteY66" fmla="*/ 7821 h 10000"/>
              <a:gd name="connsiteX67" fmla="*/ 8998 w 10000"/>
              <a:gd name="connsiteY67" fmla="*/ 7643 h 10000"/>
              <a:gd name="connsiteX68" fmla="*/ 9107 w 10000"/>
              <a:gd name="connsiteY68" fmla="*/ 7821 h 10000"/>
              <a:gd name="connsiteX69" fmla="*/ 9174 w 10000"/>
              <a:gd name="connsiteY69" fmla="*/ 7685 h 10000"/>
              <a:gd name="connsiteX70" fmla="*/ 9202 w 10000"/>
              <a:gd name="connsiteY70" fmla="*/ 7334 h 10000"/>
              <a:gd name="connsiteX71" fmla="*/ 9243 w 10000"/>
              <a:gd name="connsiteY71" fmla="*/ 7685 h 10000"/>
              <a:gd name="connsiteX72" fmla="*/ 9310 w 10000"/>
              <a:gd name="connsiteY72" fmla="*/ 7512 h 10000"/>
              <a:gd name="connsiteX73" fmla="*/ 9418 w 10000"/>
              <a:gd name="connsiteY73" fmla="*/ 7554 h 10000"/>
              <a:gd name="connsiteX74" fmla="*/ 9445 w 10000"/>
              <a:gd name="connsiteY74" fmla="*/ 7774 h 10000"/>
              <a:gd name="connsiteX75" fmla="*/ 9486 w 10000"/>
              <a:gd name="connsiteY75" fmla="*/ 7821 h 10000"/>
              <a:gd name="connsiteX76" fmla="*/ 9526 w 10000"/>
              <a:gd name="connsiteY76" fmla="*/ 7685 h 10000"/>
              <a:gd name="connsiteX77" fmla="*/ 9581 w 10000"/>
              <a:gd name="connsiteY77" fmla="*/ 7774 h 10000"/>
              <a:gd name="connsiteX78" fmla="*/ 9635 w 10000"/>
              <a:gd name="connsiteY78" fmla="*/ 7245 h 10000"/>
              <a:gd name="connsiteX79" fmla="*/ 9717 w 10000"/>
              <a:gd name="connsiteY79" fmla="*/ 7821 h 10000"/>
              <a:gd name="connsiteX80" fmla="*/ 9824 w 10000"/>
              <a:gd name="connsiteY80" fmla="*/ 7465 h 10000"/>
              <a:gd name="connsiteX81" fmla="*/ 9851 w 10000"/>
              <a:gd name="connsiteY81" fmla="*/ 7245 h 10000"/>
              <a:gd name="connsiteX82" fmla="*/ 9918 w 10000"/>
              <a:gd name="connsiteY82" fmla="*/ 7465 h 10000"/>
              <a:gd name="connsiteX83" fmla="*/ 10000 w 10000"/>
              <a:gd name="connsiteY83" fmla="*/ 7376 h 10000"/>
              <a:gd name="connsiteX0" fmla="*/ 0 w 9780"/>
              <a:gd name="connsiteY0" fmla="*/ 10000 h 10000"/>
              <a:gd name="connsiteX1" fmla="*/ 442 w 9780"/>
              <a:gd name="connsiteY1" fmla="*/ 2165 h 10000"/>
              <a:gd name="connsiteX2" fmla="*/ 551 w 9780"/>
              <a:gd name="connsiteY2" fmla="*/ 2043 h 10000"/>
              <a:gd name="connsiteX3" fmla="*/ 618 w 9780"/>
              <a:gd name="connsiteY3" fmla="*/ 1687 h 10000"/>
              <a:gd name="connsiteX4" fmla="*/ 687 w 9780"/>
              <a:gd name="connsiteY4" fmla="*/ 1687 h 10000"/>
              <a:gd name="connsiteX5" fmla="*/ 727 w 9780"/>
              <a:gd name="connsiteY5" fmla="*/ 2441 h 10000"/>
              <a:gd name="connsiteX6" fmla="*/ 822 w 9780"/>
              <a:gd name="connsiteY6" fmla="*/ 1645 h 10000"/>
              <a:gd name="connsiteX7" fmla="*/ 930 w 9780"/>
              <a:gd name="connsiteY7" fmla="*/ 2441 h 10000"/>
              <a:gd name="connsiteX8" fmla="*/ 985 w 9780"/>
              <a:gd name="connsiteY8" fmla="*/ 1645 h 10000"/>
              <a:gd name="connsiteX9" fmla="*/ 1039 w 9780"/>
              <a:gd name="connsiteY9" fmla="*/ 1912 h 10000"/>
              <a:gd name="connsiteX10" fmla="*/ 1079 w 9780"/>
              <a:gd name="connsiteY10" fmla="*/ 1556 h 10000"/>
              <a:gd name="connsiteX11" fmla="*/ 1119 w 9780"/>
              <a:gd name="connsiteY11" fmla="*/ 2530 h 10000"/>
              <a:gd name="connsiteX12" fmla="*/ 1201 w 9780"/>
              <a:gd name="connsiteY12" fmla="*/ 1378 h 10000"/>
              <a:gd name="connsiteX13" fmla="*/ 1215 w 9780"/>
              <a:gd name="connsiteY13" fmla="*/ 2310 h 10000"/>
              <a:gd name="connsiteX14" fmla="*/ 1268 w 9780"/>
              <a:gd name="connsiteY14" fmla="*/ 2577 h 10000"/>
              <a:gd name="connsiteX15" fmla="*/ 1310 w 9780"/>
              <a:gd name="connsiteY15" fmla="*/ 2488 h 10000"/>
              <a:gd name="connsiteX16" fmla="*/ 1337 w 9780"/>
              <a:gd name="connsiteY16" fmla="*/ 1823 h 10000"/>
              <a:gd name="connsiteX17" fmla="*/ 1444 w 9780"/>
              <a:gd name="connsiteY17" fmla="*/ 2577 h 10000"/>
              <a:gd name="connsiteX18" fmla="*/ 1498 w 9780"/>
              <a:gd name="connsiteY18" fmla="*/ 2310 h 10000"/>
              <a:gd name="connsiteX19" fmla="*/ 1540 w 9780"/>
              <a:gd name="connsiteY19" fmla="*/ 1200 h 10000"/>
              <a:gd name="connsiteX20" fmla="*/ 1566 w 9780"/>
              <a:gd name="connsiteY20" fmla="*/ 2352 h 10000"/>
              <a:gd name="connsiteX21" fmla="*/ 1593 w 9780"/>
              <a:gd name="connsiteY21" fmla="*/ 2179 h 10000"/>
              <a:gd name="connsiteX22" fmla="*/ 1607 w 9780"/>
              <a:gd name="connsiteY22" fmla="*/ 2310 h 10000"/>
              <a:gd name="connsiteX23" fmla="*/ 1662 w 9780"/>
              <a:gd name="connsiteY23" fmla="*/ 1865 h 10000"/>
              <a:gd name="connsiteX24" fmla="*/ 1756 w 9780"/>
              <a:gd name="connsiteY24" fmla="*/ 2441 h 10000"/>
              <a:gd name="connsiteX25" fmla="*/ 1756 w 9780"/>
              <a:gd name="connsiteY25" fmla="*/ 2933 h 10000"/>
              <a:gd name="connsiteX26" fmla="*/ 1810 w 9780"/>
              <a:gd name="connsiteY26" fmla="*/ 3154 h 10000"/>
              <a:gd name="connsiteX27" fmla="*/ 1850 w 9780"/>
              <a:gd name="connsiteY27" fmla="*/ 2755 h 10000"/>
              <a:gd name="connsiteX28" fmla="*/ 1905 w 9780"/>
              <a:gd name="connsiteY28" fmla="*/ 3154 h 10000"/>
              <a:gd name="connsiteX29" fmla="*/ 1986 w 9780"/>
              <a:gd name="connsiteY29" fmla="*/ 1556 h 10000"/>
              <a:gd name="connsiteX30" fmla="*/ 2054 w 9780"/>
              <a:gd name="connsiteY30" fmla="*/ 3421 h 10000"/>
              <a:gd name="connsiteX31" fmla="*/ 2175 w 9780"/>
              <a:gd name="connsiteY31" fmla="*/ 2577 h 10000"/>
              <a:gd name="connsiteX32" fmla="*/ 2188 w 9780"/>
              <a:gd name="connsiteY32" fmla="*/ 2043 h 10000"/>
              <a:gd name="connsiteX33" fmla="*/ 2270 w 9780"/>
              <a:gd name="connsiteY33" fmla="*/ 2666 h 10000"/>
              <a:gd name="connsiteX34" fmla="*/ 2324 w 9780"/>
              <a:gd name="connsiteY34" fmla="*/ 2310 h 10000"/>
              <a:gd name="connsiteX35" fmla="*/ 2378 w 9780"/>
              <a:gd name="connsiteY35" fmla="*/ 2221 h 10000"/>
              <a:gd name="connsiteX36" fmla="*/ 2473 w 9780"/>
              <a:gd name="connsiteY36" fmla="*/ 1645 h 10000"/>
              <a:gd name="connsiteX37" fmla="*/ 2594 w 9780"/>
              <a:gd name="connsiteY37" fmla="*/ 1687 h 10000"/>
              <a:gd name="connsiteX38" fmla="*/ 2974 w 9780"/>
              <a:gd name="connsiteY38" fmla="*/ 2179 h 10000"/>
              <a:gd name="connsiteX39" fmla="*/ 3110 w 9780"/>
              <a:gd name="connsiteY39" fmla="*/ 4977 h 10000"/>
              <a:gd name="connsiteX40" fmla="*/ 3204 w 9780"/>
              <a:gd name="connsiteY40" fmla="*/ 5066 h 10000"/>
              <a:gd name="connsiteX41" fmla="*/ 3353 w 9780"/>
              <a:gd name="connsiteY41" fmla="*/ 4888 h 10000"/>
              <a:gd name="connsiteX42" fmla="*/ 3420 w 9780"/>
              <a:gd name="connsiteY42" fmla="*/ 4977 h 10000"/>
              <a:gd name="connsiteX43" fmla="*/ 3487 w 9780"/>
              <a:gd name="connsiteY43" fmla="*/ 4799 h 10000"/>
              <a:gd name="connsiteX44" fmla="*/ 3583 w 9780"/>
              <a:gd name="connsiteY44" fmla="*/ 1467 h 10000"/>
              <a:gd name="connsiteX45" fmla="*/ 3663 w 9780"/>
              <a:gd name="connsiteY45" fmla="*/ 1200 h 10000"/>
              <a:gd name="connsiteX46" fmla="*/ 4002 w 9780"/>
              <a:gd name="connsiteY46" fmla="*/ 6710 h 10000"/>
              <a:gd name="connsiteX47" fmla="*/ 4476 w 9780"/>
              <a:gd name="connsiteY47" fmla="*/ 6710 h 10000"/>
              <a:gd name="connsiteX48" fmla="*/ 4977 w 9780"/>
              <a:gd name="connsiteY48" fmla="*/ 754 h 10000"/>
              <a:gd name="connsiteX49" fmla="*/ 5314 w 9780"/>
              <a:gd name="connsiteY49" fmla="*/ 754 h 10000"/>
              <a:gd name="connsiteX50" fmla="*/ 5654 w 9780"/>
              <a:gd name="connsiteY50" fmla="*/ 1331 h 10000"/>
              <a:gd name="connsiteX51" fmla="*/ 5681 w 9780"/>
              <a:gd name="connsiteY51" fmla="*/ 712 h 10000"/>
              <a:gd name="connsiteX52" fmla="*/ 5815 w 9780"/>
              <a:gd name="connsiteY52" fmla="*/ 89 h 10000"/>
              <a:gd name="connsiteX53" fmla="*/ 6492 w 9780"/>
              <a:gd name="connsiteY53" fmla="*/ 0 h 10000"/>
              <a:gd name="connsiteX54" fmla="*/ 6722 w 9780"/>
              <a:gd name="connsiteY54" fmla="*/ 89 h 10000"/>
              <a:gd name="connsiteX55" fmla="*/ 6857 w 9780"/>
              <a:gd name="connsiteY55" fmla="*/ 356 h 10000"/>
              <a:gd name="connsiteX56" fmla="*/ 7223 w 9780"/>
              <a:gd name="connsiteY56" fmla="*/ 8754 h 10000"/>
              <a:gd name="connsiteX57" fmla="*/ 7994 w 9780"/>
              <a:gd name="connsiteY57" fmla="*/ 8711 h 10000"/>
              <a:gd name="connsiteX58" fmla="*/ 8156 w 9780"/>
              <a:gd name="connsiteY58" fmla="*/ 4667 h 10000"/>
              <a:gd name="connsiteX59" fmla="*/ 8332 w 9780"/>
              <a:gd name="connsiteY59" fmla="*/ 5019 h 10000"/>
              <a:gd name="connsiteX60" fmla="*/ 8426 w 9780"/>
              <a:gd name="connsiteY60" fmla="*/ 4709 h 10000"/>
              <a:gd name="connsiteX61" fmla="*/ 8468 w 9780"/>
              <a:gd name="connsiteY61" fmla="*/ 5197 h 10000"/>
              <a:gd name="connsiteX62" fmla="*/ 8508 w 9780"/>
              <a:gd name="connsiteY62" fmla="*/ 7287 h 10000"/>
              <a:gd name="connsiteX63" fmla="*/ 8590 w 9780"/>
              <a:gd name="connsiteY63" fmla="*/ 6396 h 10000"/>
              <a:gd name="connsiteX64" fmla="*/ 8684 w 9780"/>
              <a:gd name="connsiteY64" fmla="*/ 7821 h 10000"/>
              <a:gd name="connsiteX65" fmla="*/ 8738 w 9780"/>
              <a:gd name="connsiteY65" fmla="*/ 7910 h 10000"/>
              <a:gd name="connsiteX66" fmla="*/ 8778 w 9780"/>
              <a:gd name="connsiteY66" fmla="*/ 7821 h 10000"/>
              <a:gd name="connsiteX67" fmla="*/ 8778 w 9780"/>
              <a:gd name="connsiteY67" fmla="*/ 7643 h 10000"/>
              <a:gd name="connsiteX68" fmla="*/ 8887 w 9780"/>
              <a:gd name="connsiteY68" fmla="*/ 7821 h 10000"/>
              <a:gd name="connsiteX69" fmla="*/ 8954 w 9780"/>
              <a:gd name="connsiteY69" fmla="*/ 7685 h 10000"/>
              <a:gd name="connsiteX70" fmla="*/ 8982 w 9780"/>
              <a:gd name="connsiteY70" fmla="*/ 7334 h 10000"/>
              <a:gd name="connsiteX71" fmla="*/ 9023 w 9780"/>
              <a:gd name="connsiteY71" fmla="*/ 7685 h 10000"/>
              <a:gd name="connsiteX72" fmla="*/ 9090 w 9780"/>
              <a:gd name="connsiteY72" fmla="*/ 7512 h 10000"/>
              <a:gd name="connsiteX73" fmla="*/ 9198 w 9780"/>
              <a:gd name="connsiteY73" fmla="*/ 7554 h 10000"/>
              <a:gd name="connsiteX74" fmla="*/ 9225 w 9780"/>
              <a:gd name="connsiteY74" fmla="*/ 7774 h 10000"/>
              <a:gd name="connsiteX75" fmla="*/ 9266 w 9780"/>
              <a:gd name="connsiteY75" fmla="*/ 7821 h 10000"/>
              <a:gd name="connsiteX76" fmla="*/ 9306 w 9780"/>
              <a:gd name="connsiteY76" fmla="*/ 7685 h 10000"/>
              <a:gd name="connsiteX77" fmla="*/ 9361 w 9780"/>
              <a:gd name="connsiteY77" fmla="*/ 7774 h 10000"/>
              <a:gd name="connsiteX78" fmla="*/ 9415 w 9780"/>
              <a:gd name="connsiteY78" fmla="*/ 7245 h 10000"/>
              <a:gd name="connsiteX79" fmla="*/ 9497 w 9780"/>
              <a:gd name="connsiteY79" fmla="*/ 7821 h 10000"/>
              <a:gd name="connsiteX80" fmla="*/ 9604 w 9780"/>
              <a:gd name="connsiteY80" fmla="*/ 7465 h 10000"/>
              <a:gd name="connsiteX81" fmla="*/ 9631 w 9780"/>
              <a:gd name="connsiteY81" fmla="*/ 7245 h 10000"/>
              <a:gd name="connsiteX82" fmla="*/ 9698 w 9780"/>
              <a:gd name="connsiteY82" fmla="*/ 7465 h 10000"/>
              <a:gd name="connsiteX83" fmla="*/ 9780 w 978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51 w 10000"/>
              <a:gd name="connsiteY7" fmla="*/ 2441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44 w 10000"/>
              <a:gd name="connsiteY11" fmla="*/ 2530 h 10000"/>
              <a:gd name="connsiteX12" fmla="*/ 1228 w 10000"/>
              <a:gd name="connsiteY12" fmla="*/ 1378 h 10000"/>
              <a:gd name="connsiteX13" fmla="*/ 1242 w 10000"/>
              <a:gd name="connsiteY13" fmla="*/ 2310 h 10000"/>
              <a:gd name="connsiteX14" fmla="*/ 1297 w 10000"/>
              <a:gd name="connsiteY14" fmla="*/ 2577 h 10000"/>
              <a:gd name="connsiteX15" fmla="*/ 1339 w 10000"/>
              <a:gd name="connsiteY15" fmla="*/ 2488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44 w 10000"/>
              <a:gd name="connsiteY11" fmla="*/ 2530 h 10000"/>
              <a:gd name="connsiteX12" fmla="*/ 1228 w 10000"/>
              <a:gd name="connsiteY12" fmla="*/ 1378 h 10000"/>
              <a:gd name="connsiteX13" fmla="*/ 1242 w 10000"/>
              <a:gd name="connsiteY13" fmla="*/ 2310 h 10000"/>
              <a:gd name="connsiteX14" fmla="*/ 1297 w 10000"/>
              <a:gd name="connsiteY14" fmla="*/ 2577 h 10000"/>
              <a:gd name="connsiteX15" fmla="*/ 1339 w 10000"/>
              <a:gd name="connsiteY15" fmla="*/ 2488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42 w 10000"/>
              <a:gd name="connsiteY13" fmla="*/ 2310 h 10000"/>
              <a:gd name="connsiteX14" fmla="*/ 1297 w 10000"/>
              <a:gd name="connsiteY14" fmla="*/ 2577 h 10000"/>
              <a:gd name="connsiteX15" fmla="*/ 1339 w 10000"/>
              <a:gd name="connsiteY15" fmla="*/ 2488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42 w 10000"/>
              <a:gd name="connsiteY13" fmla="*/ 2310 h 10000"/>
              <a:gd name="connsiteX14" fmla="*/ 1294 w 10000"/>
              <a:gd name="connsiteY14" fmla="*/ 2726 h 10000"/>
              <a:gd name="connsiteX15" fmla="*/ 1339 w 10000"/>
              <a:gd name="connsiteY15" fmla="*/ 2488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42 w 10000"/>
              <a:gd name="connsiteY13" fmla="*/ 2310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76 w 10000"/>
              <a:gd name="connsiteY39" fmla="*/ 5066 h 10000"/>
              <a:gd name="connsiteX40" fmla="*/ 3428 w 10000"/>
              <a:gd name="connsiteY40" fmla="*/ 4888 h 10000"/>
              <a:gd name="connsiteX41" fmla="*/ 3497 w 10000"/>
              <a:gd name="connsiteY41" fmla="*/ 4977 h 10000"/>
              <a:gd name="connsiteX42" fmla="*/ 3565 w 10000"/>
              <a:gd name="connsiteY42" fmla="*/ 4799 h 10000"/>
              <a:gd name="connsiteX43" fmla="*/ 3664 w 10000"/>
              <a:gd name="connsiteY43" fmla="*/ 1467 h 10000"/>
              <a:gd name="connsiteX44" fmla="*/ 3745 w 10000"/>
              <a:gd name="connsiteY44" fmla="*/ 1200 h 10000"/>
              <a:gd name="connsiteX45" fmla="*/ 4092 w 10000"/>
              <a:gd name="connsiteY45" fmla="*/ 6710 h 10000"/>
              <a:gd name="connsiteX46" fmla="*/ 4577 w 10000"/>
              <a:gd name="connsiteY46" fmla="*/ 6710 h 10000"/>
              <a:gd name="connsiteX47" fmla="*/ 5089 w 10000"/>
              <a:gd name="connsiteY47" fmla="*/ 754 h 10000"/>
              <a:gd name="connsiteX48" fmla="*/ 5434 w 10000"/>
              <a:gd name="connsiteY48" fmla="*/ 754 h 10000"/>
              <a:gd name="connsiteX49" fmla="*/ 5781 w 10000"/>
              <a:gd name="connsiteY49" fmla="*/ 1331 h 10000"/>
              <a:gd name="connsiteX50" fmla="*/ 5809 w 10000"/>
              <a:gd name="connsiteY50" fmla="*/ 712 h 10000"/>
              <a:gd name="connsiteX51" fmla="*/ 5946 w 10000"/>
              <a:gd name="connsiteY51" fmla="*/ 89 h 10000"/>
              <a:gd name="connsiteX52" fmla="*/ 6638 w 10000"/>
              <a:gd name="connsiteY52" fmla="*/ 0 h 10000"/>
              <a:gd name="connsiteX53" fmla="*/ 6873 w 10000"/>
              <a:gd name="connsiteY53" fmla="*/ 89 h 10000"/>
              <a:gd name="connsiteX54" fmla="*/ 7011 w 10000"/>
              <a:gd name="connsiteY54" fmla="*/ 356 h 10000"/>
              <a:gd name="connsiteX55" fmla="*/ 7385 w 10000"/>
              <a:gd name="connsiteY55" fmla="*/ 8754 h 10000"/>
              <a:gd name="connsiteX56" fmla="*/ 8174 w 10000"/>
              <a:gd name="connsiteY56" fmla="*/ 8711 h 10000"/>
              <a:gd name="connsiteX57" fmla="*/ 8339 w 10000"/>
              <a:gd name="connsiteY57" fmla="*/ 4667 h 10000"/>
              <a:gd name="connsiteX58" fmla="*/ 8519 w 10000"/>
              <a:gd name="connsiteY58" fmla="*/ 5019 h 10000"/>
              <a:gd name="connsiteX59" fmla="*/ 8616 w 10000"/>
              <a:gd name="connsiteY59" fmla="*/ 4709 h 10000"/>
              <a:gd name="connsiteX60" fmla="*/ 8658 w 10000"/>
              <a:gd name="connsiteY60" fmla="*/ 5197 h 10000"/>
              <a:gd name="connsiteX61" fmla="*/ 8699 w 10000"/>
              <a:gd name="connsiteY61" fmla="*/ 7287 h 10000"/>
              <a:gd name="connsiteX62" fmla="*/ 8783 w 10000"/>
              <a:gd name="connsiteY62" fmla="*/ 6396 h 10000"/>
              <a:gd name="connsiteX63" fmla="*/ 8879 w 10000"/>
              <a:gd name="connsiteY63" fmla="*/ 7821 h 10000"/>
              <a:gd name="connsiteX64" fmla="*/ 8935 w 10000"/>
              <a:gd name="connsiteY64" fmla="*/ 7910 h 10000"/>
              <a:gd name="connsiteX65" fmla="*/ 8975 w 10000"/>
              <a:gd name="connsiteY65" fmla="*/ 7821 h 10000"/>
              <a:gd name="connsiteX66" fmla="*/ 8975 w 10000"/>
              <a:gd name="connsiteY66" fmla="*/ 7643 h 10000"/>
              <a:gd name="connsiteX67" fmla="*/ 9087 w 10000"/>
              <a:gd name="connsiteY67" fmla="*/ 7821 h 10000"/>
              <a:gd name="connsiteX68" fmla="*/ 9155 w 10000"/>
              <a:gd name="connsiteY68" fmla="*/ 7685 h 10000"/>
              <a:gd name="connsiteX69" fmla="*/ 9184 w 10000"/>
              <a:gd name="connsiteY69" fmla="*/ 7334 h 10000"/>
              <a:gd name="connsiteX70" fmla="*/ 9226 w 10000"/>
              <a:gd name="connsiteY70" fmla="*/ 7685 h 10000"/>
              <a:gd name="connsiteX71" fmla="*/ 9294 w 10000"/>
              <a:gd name="connsiteY71" fmla="*/ 7512 h 10000"/>
              <a:gd name="connsiteX72" fmla="*/ 9405 w 10000"/>
              <a:gd name="connsiteY72" fmla="*/ 7554 h 10000"/>
              <a:gd name="connsiteX73" fmla="*/ 9433 w 10000"/>
              <a:gd name="connsiteY73" fmla="*/ 7774 h 10000"/>
              <a:gd name="connsiteX74" fmla="*/ 9474 w 10000"/>
              <a:gd name="connsiteY74" fmla="*/ 7821 h 10000"/>
              <a:gd name="connsiteX75" fmla="*/ 9515 w 10000"/>
              <a:gd name="connsiteY75" fmla="*/ 7685 h 10000"/>
              <a:gd name="connsiteX76" fmla="*/ 9572 w 10000"/>
              <a:gd name="connsiteY76" fmla="*/ 7774 h 10000"/>
              <a:gd name="connsiteX77" fmla="*/ 9627 w 10000"/>
              <a:gd name="connsiteY77" fmla="*/ 7245 h 10000"/>
              <a:gd name="connsiteX78" fmla="*/ 9711 w 10000"/>
              <a:gd name="connsiteY78" fmla="*/ 7821 h 10000"/>
              <a:gd name="connsiteX79" fmla="*/ 9820 w 10000"/>
              <a:gd name="connsiteY79" fmla="*/ 7465 h 10000"/>
              <a:gd name="connsiteX80" fmla="*/ 9848 w 10000"/>
              <a:gd name="connsiteY80" fmla="*/ 7245 h 10000"/>
              <a:gd name="connsiteX81" fmla="*/ 9916 w 10000"/>
              <a:gd name="connsiteY81" fmla="*/ 7465 h 10000"/>
              <a:gd name="connsiteX82" fmla="*/ 10000 w 10000"/>
              <a:gd name="connsiteY82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428 w 10000"/>
              <a:gd name="connsiteY40" fmla="*/ 4888 h 10000"/>
              <a:gd name="connsiteX41" fmla="*/ 3497 w 10000"/>
              <a:gd name="connsiteY41" fmla="*/ 4977 h 10000"/>
              <a:gd name="connsiteX42" fmla="*/ 3565 w 10000"/>
              <a:gd name="connsiteY42" fmla="*/ 4799 h 10000"/>
              <a:gd name="connsiteX43" fmla="*/ 3664 w 10000"/>
              <a:gd name="connsiteY43" fmla="*/ 1467 h 10000"/>
              <a:gd name="connsiteX44" fmla="*/ 3745 w 10000"/>
              <a:gd name="connsiteY44" fmla="*/ 1200 h 10000"/>
              <a:gd name="connsiteX45" fmla="*/ 4092 w 10000"/>
              <a:gd name="connsiteY45" fmla="*/ 6710 h 10000"/>
              <a:gd name="connsiteX46" fmla="*/ 4577 w 10000"/>
              <a:gd name="connsiteY46" fmla="*/ 6710 h 10000"/>
              <a:gd name="connsiteX47" fmla="*/ 5089 w 10000"/>
              <a:gd name="connsiteY47" fmla="*/ 754 h 10000"/>
              <a:gd name="connsiteX48" fmla="*/ 5434 w 10000"/>
              <a:gd name="connsiteY48" fmla="*/ 754 h 10000"/>
              <a:gd name="connsiteX49" fmla="*/ 5781 w 10000"/>
              <a:gd name="connsiteY49" fmla="*/ 1331 h 10000"/>
              <a:gd name="connsiteX50" fmla="*/ 5809 w 10000"/>
              <a:gd name="connsiteY50" fmla="*/ 712 h 10000"/>
              <a:gd name="connsiteX51" fmla="*/ 5946 w 10000"/>
              <a:gd name="connsiteY51" fmla="*/ 89 h 10000"/>
              <a:gd name="connsiteX52" fmla="*/ 6638 w 10000"/>
              <a:gd name="connsiteY52" fmla="*/ 0 h 10000"/>
              <a:gd name="connsiteX53" fmla="*/ 6873 w 10000"/>
              <a:gd name="connsiteY53" fmla="*/ 89 h 10000"/>
              <a:gd name="connsiteX54" fmla="*/ 7011 w 10000"/>
              <a:gd name="connsiteY54" fmla="*/ 356 h 10000"/>
              <a:gd name="connsiteX55" fmla="*/ 7385 w 10000"/>
              <a:gd name="connsiteY55" fmla="*/ 8754 h 10000"/>
              <a:gd name="connsiteX56" fmla="*/ 8174 w 10000"/>
              <a:gd name="connsiteY56" fmla="*/ 8711 h 10000"/>
              <a:gd name="connsiteX57" fmla="*/ 8339 w 10000"/>
              <a:gd name="connsiteY57" fmla="*/ 4667 h 10000"/>
              <a:gd name="connsiteX58" fmla="*/ 8519 w 10000"/>
              <a:gd name="connsiteY58" fmla="*/ 5019 h 10000"/>
              <a:gd name="connsiteX59" fmla="*/ 8616 w 10000"/>
              <a:gd name="connsiteY59" fmla="*/ 4709 h 10000"/>
              <a:gd name="connsiteX60" fmla="*/ 8658 w 10000"/>
              <a:gd name="connsiteY60" fmla="*/ 5197 h 10000"/>
              <a:gd name="connsiteX61" fmla="*/ 8699 w 10000"/>
              <a:gd name="connsiteY61" fmla="*/ 7287 h 10000"/>
              <a:gd name="connsiteX62" fmla="*/ 8783 w 10000"/>
              <a:gd name="connsiteY62" fmla="*/ 6396 h 10000"/>
              <a:gd name="connsiteX63" fmla="*/ 8879 w 10000"/>
              <a:gd name="connsiteY63" fmla="*/ 7821 h 10000"/>
              <a:gd name="connsiteX64" fmla="*/ 8935 w 10000"/>
              <a:gd name="connsiteY64" fmla="*/ 7910 h 10000"/>
              <a:gd name="connsiteX65" fmla="*/ 8975 w 10000"/>
              <a:gd name="connsiteY65" fmla="*/ 7821 h 10000"/>
              <a:gd name="connsiteX66" fmla="*/ 8975 w 10000"/>
              <a:gd name="connsiteY66" fmla="*/ 7643 h 10000"/>
              <a:gd name="connsiteX67" fmla="*/ 9087 w 10000"/>
              <a:gd name="connsiteY67" fmla="*/ 7821 h 10000"/>
              <a:gd name="connsiteX68" fmla="*/ 9155 w 10000"/>
              <a:gd name="connsiteY68" fmla="*/ 7685 h 10000"/>
              <a:gd name="connsiteX69" fmla="*/ 9184 w 10000"/>
              <a:gd name="connsiteY69" fmla="*/ 7334 h 10000"/>
              <a:gd name="connsiteX70" fmla="*/ 9226 w 10000"/>
              <a:gd name="connsiteY70" fmla="*/ 7685 h 10000"/>
              <a:gd name="connsiteX71" fmla="*/ 9294 w 10000"/>
              <a:gd name="connsiteY71" fmla="*/ 7512 h 10000"/>
              <a:gd name="connsiteX72" fmla="*/ 9405 w 10000"/>
              <a:gd name="connsiteY72" fmla="*/ 7554 h 10000"/>
              <a:gd name="connsiteX73" fmla="*/ 9433 w 10000"/>
              <a:gd name="connsiteY73" fmla="*/ 7774 h 10000"/>
              <a:gd name="connsiteX74" fmla="*/ 9474 w 10000"/>
              <a:gd name="connsiteY74" fmla="*/ 7821 h 10000"/>
              <a:gd name="connsiteX75" fmla="*/ 9515 w 10000"/>
              <a:gd name="connsiteY75" fmla="*/ 7685 h 10000"/>
              <a:gd name="connsiteX76" fmla="*/ 9572 w 10000"/>
              <a:gd name="connsiteY76" fmla="*/ 7774 h 10000"/>
              <a:gd name="connsiteX77" fmla="*/ 9627 w 10000"/>
              <a:gd name="connsiteY77" fmla="*/ 7245 h 10000"/>
              <a:gd name="connsiteX78" fmla="*/ 9711 w 10000"/>
              <a:gd name="connsiteY78" fmla="*/ 7821 h 10000"/>
              <a:gd name="connsiteX79" fmla="*/ 9820 w 10000"/>
              <a:gd name="connsiteY79" fmla="*/ 7465 h 10000"/>
              <a:gd name="connsiteX80" fmla="*/ 9848 w 10000"/>
              <a:gd name="connsiteY80" fmla="*/ 7245 h 10000"/>
              <a:gd name="connsiteX81" fmla="*/ 9916 w 10000"/>
              <a:gd name="connsiteY81" fmla="*/ 7465 h 10000"/>
              <a:gd name="connsiteX82" fmla="*/ 10000 w 10000"/>
              <a:gd name="connsiteY82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428 w 10000"/>
              <a:gd name="connsiteY40" fmla="*/ 4888 h 10000"/>
              <a:gd name="connsiteX41" fmla="*/ 3497 w 10000"/>
              <a:gd name="connsiteY41" fmla="*/ 4977 h 10000"/>
              <a:gd name="connsiteX42" fmla="*/ 3565 w 10000"/>
              <a:gd name="connsiteY42" fmla="*/ 4799 h 10000"/>
              <a:gd name="connsiteX43" fmla="*/ 3664 w 10000"/>
              <a:gd name="connsiteY43" fmla="*/ 1467 h 10000"/>
              <a:gd name="connsiteX44" fmla="*/ 3745 w 10000"/>
              <a:gd name="connsiteY44" fmla="*/ 1200 h 10000"/>
              <a:gd name="connsiteX45" fmla="*/ 4092 w 10000"/>
              <a:gd name="connsiteY45" fmla="*/ 6710 h 10000"/>
              <a:gd name="connsiteX46" fmla="*/ 4577 w 10000"/>
              <a:gd name="connsiteY46" fmla="*/ 6710 h 10000"/>
              <a:gd name="connsiteX47" fmla="*/ 5089 w 10000"/>
              <a:gd name="connsiteY47" fmla="*/ 754 h 10000"/>
              <a:gd name="connsiteX48" fmla="*/ 5434 w 10000"/>
              <a:gd name="connsiteY48" fmla="*/ 754 h 10000"/>
              <a:gd name="connsiteX49" fmla="*/ 5781 w 10000"/>
              <a:gd name="connsiteY49" fmla="*/ 1331 h 10000"/>
              <a:gd name="connsiteX50" fmla="*/ 5809 w 10000"/>
              <a:gd name="connsiteY50" fmla="*/ 712 h 10000"/>
              <a:gd name="connsiteX51" fmla="*/ 5946 w 10000"/>
              <a:gd name="connsiteY51" fmla="*/ 89 h 10000"/>
              <a:gd name="connsiteX52" fmla="*/ 6638 w 10000"/>
              <a:gd name="connsiteY52" fmla="*/ 0 h 10000"/>
              <a:gd name="connsiteX53" fmla="*/ 6873 w 10000"/>
              <a:gd name="connsiteY53" fmla="*/ 89 h 10000"/>
              <a:gd name="connsiteX54" fmla="*/ 7011 w 10000"/>
              <a:gd name="connsiteY54" fmla="*/ 356 h 10000"/>
              <a:gd name="connsiteX55" fmla="*/ 7385 w 10000"/>
              <a:gd name="connsiteY55" fmla="*/ 8754 h 10000"/>
              <a:gd name="connsiteX56" fmla="*/ 8174 w 10000"/>
              <a:gd name="connsiteY56" fmla="*/ 8711 h 10000"/>
              <a:gd name="connsiteX57" fmla="*/ 8339 w 10000"/>
              <a:gd name="connsiteY57" fmla="*/ 4667 h 10000"/>
              <a:gd name="connsiteX58" fmla="*/ 8519 w 10000"/>
              <a:gd name="connsiteY58" fmla="*/ 5019 h 10000"/>
              <a:gd name="connsiteX59" fmla="*/ 8616 w 10000"/>
              <a:gd name="connsiteY59" fmla="*/ 4709 h 10000"/>
              <a:gd name="connsiteX60" fmla="*/ 8658 w 10000"/>
              <a:gd name="connsiteY60" fmla="*/ 5197 h 10000"/>
              <a:gd name="connsiteX61" fmla="*/ 8699 w 10000"/>
              <a:gd name="connsiteY61" fmla="*/ 7287 h 10000"/>
              <a:gd name="connsiteX62" fmla="*/ 8783 w 10000"/>
              <a:gd name="connsiteY62" fmla="*/ 6396 h 10000"/>
              <a:gd name="connsiteX63" fmla="*/ 8879 w 10000"/>
              <a:gd name="connsiteY63" fmla="*/ 7821 h 10000"/>
              <a:gd name="connsiteX64" fmla="*/ 8935 w 10000"/>
              <a:gd name="connsiteY64" fmla="*/ 7910 h 10000"/>
              <a:gd name="connsiteX65" fmla="*/ 8975 w 10000"/>
              <a:gd name="connsiteY65" fmla="*/ 7821 h 10000"/>
              <a:gd name="connsiteX66" fmla="*/ 8975 w 10000"/>
              <a:gd name="connsiteY66" fmla="*/ 7643 h 10000"/>
              <a:gd name="connsiteX67" fmla="*/ 9087 w 10000"/>
              <a:gd name="connsiteY67" fmla="*/ 7821 h 10000"/>
              <a:gd name="connsiteX68" fmla="*/ 9155 w 10000"/>
              <a:gd name="connsiteY68" fmla="*/ 7685 h 10000"/>
              <a:gd name="connsiteX69" fmla="*/ 9184 w 10000"/>
              <a:gd name="connsiteY69" fmla="*/ 7334 h 10000"/>
              <a:gd name="connsiteX70" fmla="*/ 9226 w 10000"/>
              <a:gd name="connsiteY70" fmla="*/ 7685 h 10000"/>
              <a:gd name="connsiteX71" fmla="*/ 9294 w 10000"/>
              <a:gd name="connsiteY71" fmla="*/ 7512 h 10000"/>
              <a:gd name="connsiteX72" fmla="*/ 9405 w 10000"/>
              <a:gd name="connsiteY72" fmla="*/ 7554 h 10000"/>
              <a:gd name="connsiteX73" fmla="*/ 9433 w 10000"/>
              <a:gd name="connsiteY73" fmla="*/ 7774 h 10000"/>
              <a:gd name="connsiteX74" fmla="*/ 9474 w 10000"/>
              <a:gd name="connsiteY74" fmla="*/ 7821 h 10000"/>
              <a:gd name="connsiteX75" fmla="*/ 9515 w 10000"/>
              <a:gd name="connsiteY75" fmla="*/ 7685 h 10000"/>
              <a:gd name="connsiteX76" fmla="*/ 9572 w 10000"/>
              <a:gd name="connsiteY76" fmla="*/ 7774 h 10000"/>
              <a:gd name="connsiteX77" fmla="*/ 9627 w 10000"/>
              <a:gd name="connsiteY77" fmla="*/ 7245 h 10000"/>
              <a:gd name="connsiteX78" fmla="*/ 9711 w 10000"/>
              <a:gd name="connsiteY78" fmla="*/ 7821 h 10000"/>
              <a:gd name="connsiteX79" fmla="*/ 9820 w 10000"/>
              <a:gd name="connsiteY79" fmla="*/ 7465 h 10000"/>
              <a:gd name="connsiteX80" fmla="*/ 9848 w 10000"/>
              <a:gd name="connsiteY80" fmla="*/ 7245 h 10000"/>
              <a:gd name="connsiteX81" fmla="*/ 9916 w 10000"/>
              <a:gd name="connsiteY81" fmla="*/ 7465 h 10000"/>
              <a:gd name="connsiteX82" fmla="*/ 10000 w 10000"/>
              <a:gd name="connsiteY82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428 w 10000"/>
              <a:gd name="connsiteY40" fmla="*/ 4888 h 10000"/>
              <a:gd name="connsiteX41" fmla="*/ 3497 w 10000"/>
              <a:gd name="connsiteY41" fmla="*/ 4977 h 10000"/>
              <a:gd name="connsiteX42" fmla="*/ 3565 w 10000"/>
              <a:gd name="connsiteY42" fmla="*/ 4799 h 10000"/>
              <a:gd name="connsiteX43" fmla="*/ 3664 w 10000"/>
              <a:gd name="connsiteY43" fmla="*/ 1467 h 10000"/>
              <a:gd name="connsiteX44" fmla="*/ 3745 w 10000"/>
              <a:gd name="connsiteY44" fmla="*/ 1200 h 10000"/>
              <a:gd name="connsiteX45" fmla="*/ 4092 w 10000"/>
              <a:gd name="connsiteY45" fmla="*/ 6710 h 10000"/>
              <a:gd name="connsiteX46" fmla="*/ 4577 w 10000"/>
              <a:gd name="connsiteY46" fmla="*/ 6710 h 10000"/>
              <a:gd name="connsiteX47" fmla="*/ 5089 w 10000"/>
              <a:gd name="connsiteY47" fmla="*/ 754 h 10000"/>
              <a:gd name="connsiteX48" fmla="*/ 5434 w 10000"/>
              <a:gd name="connsiteY48" fmla="*/ 754 h 10000"/>
              <a:gd name="connsiteX49" fmla="*/ 5781 w 10000"/>
              <a:gd name="connsiteY49" fmla="*/ 1331 h 10000"/>
              <a:gd name="connsiteX50" fmla="*/ 5809 w 10000"/>
              <a:gd name="connsiteY50" fmla="*/ 712 h 10000"/>
              <a:gd name="connsiteX51" fmla="*/ 5946 w 10000"/>
              <a:gd name="connsiteY51" fmla="*/ 89 h 10000"/>
              <a:gd name="connsiteX52" fmla="*/ 6638 w 10000"/>
              <a:gd name="connsiteY52" fmla="*/ 0 h 10000"/>
              <a:gd name="connsiteX53" fmla="*/ 6873 w 10000"/>
              <a:gd name="connsiteY53" fmla="*/ 89 h 10000"/>
              <a:gd name="connsiteX54" fmla="*/ 7011 w 10000"/>
              <a:gd name="connsiteY54" fmla="*/ 356 h 10000"/>
              <a:gd name="connsiteX55" fmla="*/ 7385 w 10000"/>
              <a:gd name="connsiteY55" fmla="*/ 8754 h 10000"/>
              <a:gd name="connsiteX56" fmla="*/ 8174 w 10000"/>
              <a:gd name="connsiteY56" fmla="*/ 8711 h 10000"/>
              <a:gd name="connsiteX57" fmla="*/ 8339 w 10000"/>
              <a:gd name="connsiteY57" fmla="*/ 4667 h 10000"/>
              <a:gd name="connsiteX58" fmla="*/ 8519 w 10000"/>
              <a:gd name="connsiteY58" fmla="*/ 5019 h 10000"/>
              <a:gd name="connsiteX59" fmla="*/ 8616 w 10000"/>
              <a:gd name="connsiteY59" fmla="*/ 4709 h 10000"/>
              <a:gd name="connsiteX60" fmla="*/ 8658 w 10000"/>
              <a:gd name="connsiteY60" fmla="*/ 5197 h 10000"/>
              <a:gd name="connsiteX61" fmla="*/ 8699 w 10000"/>
              <a:gd name="connsiteY61" fmla="*/ 7287 h 10000"/>
              <a:gd name="connsiteX62" fmla="*/ 8783 w 10000"/>
              <a:gd name="connsiteY62" fmla="*/ 6396 h 10000"/>
              <a:gd name="connsiteX63" fmla="*/ 8879 w 10000"/>
              <a:gd name="connsiteY63" fmla="*/ 7821 h 10000"/>
              <a:gd name="connsiteX64" fmla="*/ 8935 w 10000"/>
              <a:gd name="connsiteY64" fmla="*/ 7910 h 10000"/>
              <a:gd name="connsiteX65" fmla="*/ 8975 w 10000"/>
              <a:gd name="connsiteY65" fmla="*/ 7821 h 10000"/>
              <a:gd name="connsiteX66" fmla="*/ 8975 w 10000"/>
              <a:gd name="connsiteY66" fmla="*/ 7643 h 10000"/>
              <a:gd name="connsiteX67" fmla="*/ 9087 w 10000"/>
              <a:gd name="connsiteY67" fmla="*/ 7821 h 10000"/>
              <a:gd name="connsiteX68" fmla="*/ 9155 w 10000"/>
              <a:gd name="connsiteY68" fmla="*/ 7685 h 10000"/>
              <a:gd name="connsiteX69" fmla="*/ 9184 w 10000"/>
              <a:gd name="connsiteY69" fmla="*/ 7334 h 10000"/>
              <a:gd name="connsiteX70" fmla="*/ 9226 w 10000"/>
              <a:gd name="connsiteY70" fmla="*/ 7685 h 10000"/>
              <a:gd name="connsiteX71" fmla="*/ 9294 w 10000"/>
              <a:gd name="connsiteY71" fmla="*/ 7512 h 10000"/>
              <a:gd name="connsiteX72" fmla="*/ 9405 w 10000"/>
              <a:gd name="connsiteY72" fmla="*/ 7554 h 10000"/>
              <a:gd name="connsiteX73" fmla="*/ 9433 w 10000"/>
              <a:gd name="connsiteY73" fmla="*/ 7774 h 10000"/>
              <a:gd name="connsiteX74" fmla="*/ 9474 w 10000"/>
              <a:gd name="connsiteY74" fmla="*/ 7821 h 10000"/>
              <a:gd name="connsiteX75" fmla="*/ 9515 w 10000"/>
              <a:gd name="connsiteY75" fmla="*/ 7685 h 10000"/>
              <a:gd name="connsiteX76" fmla="*/ 9572 w 10000"/>
              <a:gd name="connsiteY76" fmla="*/ 7774 h 10000"/>
              <a:gd name="connsiteX77" fmla="*/ 9627 w 10000"/>
              <a:gd name="connsiteY77" fmla="*/ 7245 h 10000"/>
              <a:gd name="connsiteX78" fmla="*/ 9711 w 10000"/>
              <a:gd name="connsiteY78" fmla="*/ 7821 h 10000"/>
              <a:gd name="connsiteX79" fmla="*/ 9820 w 10000"/>
              <a:gd name="connsiteY79" fmla="*/ 7465 h 10000"/>
              <a:gd name="connsiteX80" fmla="*/ 9848 w 10000"/>
              <a:gd name="connsiteY80" fmla="*/ 7245 h 10000"/>
              <a:gd name="connsiteX81" fmla="*/ 9916 w 10000"/>
              <a:gd name="connsiteY81" fmla="*/ 7465 h 10000"/>
              <a:gd name="connsiteX82" fmla="*/ 10000 w 10000"/>
              <a:gd name="connsiteY82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397 w 10000"/>
              <a:gd name="connsiteY40" fmla="*/ 2830 h 10000"/>
              <a:gd name="connsiteX41" fmla="*/ 3497 w 10000"/>
              <a:gd name="connsiteY41" fmla="*/ 4977 h 10000"/>
              <a:gd name="connsiteX42" fmla="*/ 3565 w 10000"/>
              <a:gd name="connsiteY42" fmla="*/ 4799 h 10000"/>
              <a:gd name="connsiteX43" fmla="*/ 3664 w 10000"/>
              <a:gd name="connsiteY43" fmla="*/ 1467 h 10000"/>
              <a:gd name="connsiteX44" fmla="*/ 3745 w 10000"/>
              <a:gd name="connsiteY44" fmla="*/ 1200 h 10000"/>
              <a:gd name="connsiteX45" fmla="*/ 4092 w 10000"/>
              <a:gd name="connsiteY45" fmla="*/ 6710 h 10000"/>
              <a:gd name="connsiteX46" fmla="*/ 4577 w 10000"/>
              <a:gd name="connsiteY46" fmla="*/ 6710 h 10000"/>
              <a:gd name="connsiteX47" fmla="*/ 5089 w 10000"/>
              <a:gd name="connsiteY47" fmla="*/ 754 h 10000"/>
              <a:gd name="connsiteX48" fmla="*/ 5434 w 10000"/>
              <a:gd name="connsiteY48" fmla="*/ 754 h 10000"/>
              <a:gd name="connsiteX49" fmla="*/ 5781 w 10000"/>
              <a:gd name="connsiteY49" fmla="*/ 1331 h 10000"/>
              <a:gd name="connsiteX50" fmla="*/ 5809 w 10000"/>
              <a:gd name="connsiteY50" fmla="*/ 712 h 10000"/>
              <a:gd name="connsiteX51" fmla="*/ 5946 w 10000"/>
              <a:gd name="connsiteY51" fmla="*/ 89 h 10000"/>
              <a:gd name="connsiteX52" fmla="*/ 6638 w 10000"/>
              <a:gd name="connsiteY52" fmla="*/ 0 h 10000"/>
              <a:gd name="connsiteX53" fmla="*/ 6873 w 10000"/>
              <a:gd name="connsiteY53" fmla="*/ 89 h 10000"/>
              <a:gd name="connsiteX54" fmla="*/ 7011 w 10000"/>
              <a:gd name="connsiteY54" fmla="*/ 356 h 10000"/>
              <a:gd name="connsiteX55" fmla="*/ 7385 w 10000"/>
              <a:gd name="connsiteY55" fmla="*/ 8754 h 10000"/>
              <a:gd name="connsiteX56" fmla="*/ 8174 w 10000"/>
              <a:gd name="connsiteY56" fmla="*/ 8711 h 10000"/>
              <a:gd name="connsiteX57" fmla="*/ 8339 w 10000"/>
              <a:gd name="connsiteY57" fmla="*/ 4667 h 10000"/>
              <a:gd name="connsiteX58" fmla="*/ 8519 w 10000"/>
              <a:gd name="connsiteY58" fmla="*/ 5019 h 10000"/>
              <a:gd name="connsiteX59" fmla="*/ 8616 w 10000"/>
              <a:gd name="connsiteY59" fmla="*/ 4709 h 10000"/>
              <a:gd name="connsiteX60" fmla="*/ 8658 w 10000"/>
              <a:gd name="connsiteY60" fmla="*/ 5197 h 10000"/>
              <a:gd name="connsiteX61" fmla="*/ 8699 w 10000"/>
              <a:gd name="connsiteY61" fmla="*/ 7287 h 10000"/>
              <a:gd name="connsiteX62" fmla="*/ 8783 w 10000"/>
              <a:gd name="connsiteY62" fmla="*/ 6396 h 10000"/>
              <a:gd name="connsiteX63" fmla="*/ 8879 w 10000"/>
              <a:gd name="connsiteY63" fmla="*/ 7821 h 10000"/>
              <a:gd name="connsiteX64" fmla="*/ 8935 w 10000"/>
              <a:gd name="connsiteY64" fmla="*/ 7910 h 10000"/>
              <a:gd name="connsiteX65" fmla="*/ 8975 w 10000"/>
              <a:gd name="connsiteY65" fmla="*/ 7821 h 10000"/>
              <a:gd name="connsiteX66" fmla="*/ 8975 w 10000"/>
              <a:gd name="connsiteY66" fmla="*/ 7643 h 10000"/>
              <a:gd name="connsiteX67" fmla="*/ 9087 w 10000"/>
              <a:gd name="connsiteY67" fmla="*/ 7821 h 10000"/>
              <a:gd name="connsiteX68" fmla="*/ 9155 w 10000"/>
              <a:gd name="connsiteY68" fmla="*/ 7685 h 10000"/>
              <a:gd name="connsiteX69" fmla="*/ 9184 w 10000"/>
              <a:gd name="connsiteY69" fmla="*/ 7334 h 10000"/>
              <a:gd name="connsiteX70" fmla="*/ 9226 w 10000"/>
              <a:gd name="connsiteY70" fmla="*/ 7685 h 10000"/>
              <a:gd name="connsiteX71" fmla="*/ 9294 w 10000"/>
              <a:gd name="connsiteY71" fmla="*/ 7512 h 10000"/>
              <a:gd name="connsiteX72" fmla="*/ 9405 w 10000"/>
              <a:gd name="connsiteY72" fmla="*/ 7554 h 10000"/>
              <a:gd name="connsiteX73" fmla="*/ 9433 w 10000"/>
              <a:gd name="connsiteY73" fmla="*/ 7774 h 10000"/>
              <a:gd name="connsiteX74" fmla="*/ 9474 w 10000"/>
              <a:gd name="connsiteY74" fmla="*/ 7821 h 10000"/>
              <a:gd name="connsiteX75" fmla="*/ 9515 w 10000"/>
              <a:gd name="connsiteY75" fmla="*/ 7685 h 10000"/>
              <a:gd name="connsiteX76" fmla="*/ 9572 w 10000"/>
              <a:gd name="connsiteY76" fmla="*/ 7774 h 10000"/>
              <a:gd name="connsiteX77" fmla="*/ 9627 w 10000"/>
              <a:gd name="connsiteY77" fmla="*/ 7245 h 10000"/>
              <a:gd name="connsiteX78" fmla="*/ 9711 w 10000"/>
              <a:gd name="connsiteY78" fmla="*/ 7821 h 10000"/>
              <a:gd name="connsiteX79" fmla="*/ 9820 w 10000"/>
              <a:gd name="connsiteY79" fmla="*/ 7465 h 10000"/>
              <a:gd name="connsiteX80" fmla="*/ 9848 w 10000"/>
              <a:gd name="connsiteY80" fmla="*/ 7245 h 10000"/>
              <a:gd name="connsiteX81" fmla="*/ 9916 w 10000"/>
              <a:gd name="connsiteY81" fmla="*/ 7465 h 10000"/>
              <a:gd name="connsiteX82" fmla="*/ 10000 w 10000"/>
              <a:gd name="connsiteY82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497 w 10000"/>
              <a:gd name="connsiteY40" fmla="*/ 4977 h 10000"/>
              <a:gd name="connsiteX41" fmla="*/ 3565 w 10000"/>
              <a:gd name="connsiteY41" fmla="*/ 4799 h 10000"/>
              <a:gd name="connsiteX42" fmla="*/ 3664 w 10000"/>
              <a:gd name="connsiteY42" fmla="*/ 1467 h 10000"/>
              <a:gd name="connsiteX43" fmla="*/ 3745 w 10000"/>
              <a:gd name="connsiteY43" fmla="*/ 1200 h 10000"/>
              <a:gd name="connsiteX44" fmla="*/ 4092 w 10000"/>
              <a:gd name="connsiteY44" fmla="*/ 6710 h 10000"/>
              <a:gd name="connsiteX45" fmla="*/ 4577 w 10000"/>
              <a:gd name="connsiteY45" fmla="*/ 6710 h 10000"/>
              <a:gd name="connsiteX46" fmla="*/ 5089 w 10000"/>
              <a:gd name="connsiteY46" fmla="*/ 754 h 10000"/>
              <a:gd name="connsiteX47" fmla="*/ 5434 w 10000"/>
              <a:gd name="connsiteY47" fmla="*/ 754 h 10000"/>
              <a:gd name="connsiteX48" fmla="*/ 5781 w 10000"/>
              <a:gd name="connsiteY48" fmla="*/ 1331 h 10000"/>
              <a:gd name="connsiteX49" fmla="*/ 5809 w 10000"/>
              <a:gd name="connsiteY49" fmla="*/ 712 h 10000"/>
              <a:gd name="connsiteX50" fmla="*/ 5946 w 10000"/>
              <a:gd name="connsiteY50" fmla="*/ 89 h 10000"/>
              <a:gd name="connsiteX51" fmla="*/ 6638 w 10000"/>
              <a:gd name="connsiteY51" fmla="*/ 0 h 10000"/>
              <a:gd name="connsiteX52" fmla="*/ 6873 w 10000"/>
              <a:gd name="connsiteY52" fmla="*/ 89 h 10000"/>
              <a:gd name="connsiteX53" fmla="*/ 7011 w 10000"/>
              <a:gd name="connsiteY53" fmla="*/ 356 h 10000"/>
              <a:gd name="connsiteX54" fmla="*/ 7385 w 10000"/>
              <a:gd name="connsiteY54" fmla="*/ 8754 h 10000"/>
              <a:gd name="connsiteX55" fmla="*/ 8174 w 10000"/>
              <a:gd name="connsiteY55" fmla="*/ 8711 h 10000"/>
              <a:gd name="connsiteX56" fmla="*/ 8339 w 10000"/>
              <a:gd name="connsiteY56" fmla="*/ 4667 h 10000"/>
              <a:gd name="connsiteX57" fmla="*/ 8519 w 10000"/>
              <a:gd name="connsiteY57" fmla="*/ 5019 h 10000"/>
              <a:gd name="connsiteX58" fmla="*/ 8616 w 10000"/>
              <a:gd name="connsiteY58" fmla="*/ 4709 h 10000"/>
              <a:gd name="connsiteX59" fmla="*/ 8658 w 10000"/>
              <a:gd name="connsiteY59" fmla="*/ 5197 h 10000"/>
              <a:gd name="connsiteX60" fmla="*/ 8699 w 10000"/>
              <a:gd name="connsiteY60" fmla="*/ 7287 h 10000"/>
              <a:gd name="connsiteX61" fmla="*/ 8783 w 10000"/>
              <a:gd name="connsiteY61" fmla="*/ 6396 h 10000"/>
              <a:gd name="connsiteX62" fmla="*/ 8879 w 10000"/>
              <a:gd name="connsiteY62" fmla="*/ 7821 h 10000"/>
              <a:gd name="connsiteX63" fmla="*/ 8935 w 10000"/>
              <a:gd name="connsiteY63" fmla="*/ 7910 h 10000"/>
              <a:gd name="connsiteX64" fmla="*/ 8975 w 10000"/>
              <a:gd name="connsiteY64" fmla="*/ 7821 h 10000"/>
              <a:gd name="connsiteX65" fmla="*/ 8975 w 10000"/>
              <a:gd name="connsiteY65" fmla="*/ 7643 h 10000"/>
              <a:gd name="connsiteX66" fmla="*/ 9087 w 10000"/>
              <a:gd name="connsiteY66" fmla="*/ 7821 h 10000"/>
              <a:gd name="connsiteX67" fmla="*/ 9155 w 10000"/>
              <a:gd name="connsiteY67" fmla="*/ 7685 h 10000"/>
              <a:gd name="connsiteX68" fmla="*/ 9184 w 10000"/>
              <a:gd name="connsiteY68" fmla="*/ 7334 h 10000"/>
              <a:gd name="connsiteX69" fmla="*/ 9226 w 10000"/>
              <a:gd name="connsiteY69" fmla="*/ 7685 h 10000"/>
              <a:gd name="connsiteX70" fmla="*/ 9294 w 10000"/>
              <a:gd name="connsiteY70" fmla="*/ 7512 h 10000"/>
              <a:gd name="connsiteX71" fmla="*/ 9405 w 10000"/>
              <a:gd name="connsiteY71" fmla="*/ 7554 h 10000"/>
              <a:gd name="connsiteX72" fmla="*/ 9433 w 10000"/>
              <a:gd name="connsiteY72" fmla="*/ 7774 h 10000"/>
              <a:gd name="connsiteX73" fmla="*/ 9474 w 10000"/>
              <a:gd name="connsiteY73" fmla="*/ 7821 h 10000"/>
              <a:gd name="connsiteX74" fmla="*/ 9515 w 10000"/>
              <a:gd name="connsiteY74" fmla="*/ 7685 h 10000"/>
              <a:gd name="connsiteX75" fmla="*/ 9572 w 10000"/>
              <a:gd name="connsiteY75" fmla="*/ 7774 h 10000"/>
              <a:gd name="connsiteX76" fmla="*/ 9627 w 10000"/>
              <a:gd name="connsiteY76" fmla="*/ 7245 h 10000"/>
              <a:gd name="connsiteX77" fmla="*/ 9711 w 10000"/>
              <a:gd name="connsiteY77" fmla="*/ 7821 h 10000"/>
              <a:gd name="connsiteX78" fmla="*/ 9820 w 10000"/>
              <a:gd name="connsiteY78" fmla="*/ 7465 h 10000"/>
              <a:gd name="connsiteX79" fmla="*/ 9848 w 10000"/>
              <a:gd name="connsiteY79" fmla="*/ 7245 h 10000"/>
              <a:gd name="connsiteX80" fmla="*/ 9916 w 10000"/>
              <a:gd name="connsiteY80" fmla="*/ 7465 h 10000"/>
              <a:gd name="connsiteX81" fmla="*/ 10000 w 10000"/>
              <a:gd name="connsiteY81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65 w 10000"/>
              <a:gd name="connsiteY40" fmla="*/ 4799 h 10000"/>
              <a:gd name="connsiteX41" fmla="*/ 3664 w 10000"/>
              <a:gd name="connsiteY41" fmla="*/ 1467 h 10000"/>
              <a:gd name="connsiteX42" fmla="*/ 3745 w 10000"/>
              <a:gd name="connsiteY42" fmla="*/ 1200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606 w 10000"/>
              <a:gd name="connsiteY40" fmla="*/ 2600 h 10000"/>
              <a:gd name="connsiteX41" fmla="*/ 3664 w 10000"/>
              <a:gd name="connsiteY41" fmla="*/ 1467 h 10000"/>
              <a:gd name="connsiteX42" fmla="*/ 3745 w 10000"/>
              <a:gd name="connsiteY42" fmla="*/ 1200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606 w 10000"/>
              <a:gd name="connsiteY40" fmla="*/ 2600 h 10000"/>
              <a:gd name="connsiteX41" fmla="*/ 3664 w 10000"/>
              <a:gd name="connsiteY41" fmla="*/ 1467 h 10000"/>
              <a:gd name="connsiteX42" fmla="*/ 3745 w 10000"/>
              <a:gd name="connsiteY42" fmla="*/ 1200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64 w 10000"/>
              <a:gd name="connsiteY41" fmla="*/ 1467 h 10000"/>
              <a:gd name="connsiteX42" fmla="*/ 3745 w 10000"/>
              <a:gd name="connsiteY42" fmla="*/ 1200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64 w 10000"/>
              <a:gd name="connsiteY41" fmla="*/ 1467 h 10000"/>
              <a:gd name="connsiteX42" fmla="*/ 3745 w 10000"/>
              <a:gd name="connsiteY42" fmla="*/ 1200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64 w 10000"/>
              <a:gd name="connsiteY41" fmla="*/ 1467 h 10000"/>
              <a:gd name="connsiteX42" fmla="*/ 3779 w 10000"/>
              <a:gd name="connsiteY42" fmla="*/ 1134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781 w 10000"/>
              <a:gd name="connsiteY46" fmla="*/ 1331 h 10000"/>
              <a:gd name="connsiteX47" fmla="*/ 5809 w 10000"/>
              <a:gd name="connsiteY47" fmla="*/ 712 h 10000"/>
              <a:gd name="connsiteX48" fmla="*/ 5946 w 10000"/>
              <a:gd name="connsiteY48" fmla="*/ 89 h 10000"/>
              <a:gd name="connsiteX49" fmla="*/ 6638 w 10000"/>
              <a:gd name="connsiteY49" fmla="*/ 0 h 10000"/>
              <a:gd name="connsiteX50" fmla="*/ 6873 w 10000"/>
              <a:gd name="connsiteY50" fmla="*/ 89 h 10000"/>
              <a:gd name="connsiteX51" fmla="*/ 7011 w 10000"/>
              <a:gd name="connsiteY51" fmla="*/ 356 h 10000"/>
              <a:gd name="connsiteX52" fmla="*/ 7385 w 10000"/>
              <a:gd name="connsiteY52" fmla="*/ 8754 h 10000"/>
              <a:gd name="connsiteX53" fmla="*/ 8174 w 10000"/>
              <a:gd name="connsiteY53" fmla="*/ 8711 h 10000"/>
              <a:gd name="connsiteX54" fmla="*/ 8339 w 10000"/>
              <a:gd name="connsiteY54" fmla="*/ 4667 h 10000"/>
              <a:gd name="connsiteX55" fmla="*/ 8519 w 10000"/>
              <a:gd name="connsiteY55" fmla="*/ 5019 h 10000"/>
              <a:gd name="connsiteX56" fmla="*/ 8616 w 10000"/>
              <a:gd name="connsiteY56" fmla="*/ 4709 h 10000"/>
              <a:gd name="connsiteX57" fmla="*/ 8658 w 10000"/>
              <a:gd name="connsiteY57" fmla="*/ 5197 h 10000"/>
              <a:gd name="connsiteX58" fmla="*/ 8699 w 10000"/>
              <a:gd name="connsiteY58" fmla="*/ 7287 h 10000"/>
              <a:gd name="connsiteX59" fmla="*/ 8783 w 10000"/>
              <a:gd name="connsiteY59" fmla="*/ 6396 h 10000"/>
              <a:gd name="connsiteX60" fmla="*/ 8879 w 10000"/>
              <a:gd name="connsiteY60" fmla="*/ 7821 h 10000"/>
              <a:gd name="connsiteX61" fmla="*/ 8935 w 10000"/>
              <a:gd name="connsiteY61" fmla="*/ 7910 h 10000"/>
              <a:gd name="connsiteX62" fmla="*/ 8975 w 10000"/>
              <a:gd name="connsiteY62" fmla="*/ 7821 h 10000"/>
              <a:gd name="connsiteX63" fmla="*/ 8975 w 10000"/>
              <a:gd name="connsiteY63" fmla="*/ 7643 h 10000"/>
              <a:gd name="connsiteX64" fmla="*/ 9087 w 10000"/>
              <a:gd name="connsiteY64" fmla="*/ 7821 h 10000"/>
              <a:gd name="connsiteX65" fmla="*/ 9155 w 10000"/>
              <a:gd name="connsiteY65" fmla="*/ 7685 h 10000"/>
              <a:gd name="connsiteX66" fmla="*/ 9184 w 10000"/>
              <a:gd name="connsiteY66" fmla="*/ 7334 h 10000"/>
              <a:gd name="connsiteX67" fmla="*/ 9226 w 10000"/>
              <a:gd name="connsiteY67" fmla="*/ 7685 h 10000"/>
              <a:gd name="connsiteX68" fmla="*/ 9294 w 10000"/>
              <a:gd name="connsiteY68" fmla="*/ 7512 h 10000"/>
              <a:gd name="connsiteX69" fmla="*/ 9405 w 10000"/>
              <a:gd name="connsiteY69" fmla="*/ 7554 h 10000"/>
              <a:gd name="connsiteX70" fmla="*/ 9433 w 10000"/>
              <a:gd name="connsiteY70" fmla="*/ 7774 h 10000"/>
              <a:gd name="connsiteX71" fmla="*/ 9474 w 10000"/>
              <a:gd name="connsiteY71" fmla="*/ 7821 h 10000"/>
              <a:gd name="connsiteX72" fmla="*/ 9515 w 10000"/>
              <a:gd name="connsiteY72" fmla="*/ 7685 h 10000"/>
              <a:gd name="connsiteX73" fmla="*/ 9572 w 10000"/>
              <a:gd name="connsiteY73" fmla="*/ 7774 h 10000"/>
              <a:gd name="connsiteX74" fmla="*/ 9627 w 10000"/>
              <a:gd name="connsiteY74" fmla="*/ 7245 h 10000"/>
              <a:gd name="connsiteX75" fmla="*/ 9711 w 10000"/>
              <a:gd name="connsiteY75" fmla="*/ 7821 h 10000"/>
              <a:gd name="connsiteX76" fmla="*/ 9820 w 10000"/>
              <a:gd name="connsiteY76" fmla="*/ 7465 h 10000"/>
              <a:gd name="connsiteX77" fmla="*/ 9848 w 10000"/>
              <a:gd name="connsiteY77" fmla="*/ 7245 h 10000"/>
              <a:gd name="connsiteX78" fmla="*/ 9916 w 10000"/>
              <a:gd name="connsiteY78" fmla="*/ 7465 h 10000"/>
              <a:gd name="connsiteX79" fmla="*/ 10000 w 10000"/>
              <a:gd name="connsiteY79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81 w 10000"/>
              <a:gd name="connsiteY46" fmla="*/ 1331 h 10000"/>
              <a:gd name="connsiteX47" fmla="*/ 5809 w 10000"/>
              <a:gd name="connsiteY47" fmla="*/ 712 h 10000"/>
              <a:gd name="connsiteX48" fmla="*/ 5946 w 10000"/>
              <a:gd name="connsiteY48" fmla="*/ 89 h 10000"/>
              <a:gd name="connsiteX49" fmla="*/ 6638 w 10000"/>
              <a:gd name="connsiteY49" fmla="*/ 0 h 10000"/>
              <a:gd name="connsiteX50" fmla="*/ 6873 w 10000"/>
              <a:gd name="connsiteY50" fmla="*/ 89 h 10000"/>
              <a:gd name="connsiteX51" fmla="*/ 7011 w 10000"/>
              <a:gd name="connsiteY51" fmla="*/ 356 h 10000"/>
              <a:gd name="connsiteX52" fmla="*/ 7385 w 10000"/>
              <a:gd name="connsiteY52" fmla="*/ 8754 h 10000"/>
              <a:gd name="connsiteX53" fmla="*/ 8174 w 10000"/>
              <a:gd name="connsiteY53" fmla="*/ 8711 h 10000"/>
              <a:gd name="connsiteX54" fmla="*/ 8339 w 10000"/>
              <a:gd name="connsiteY54" fmla="*/ 4667 h 10000"/>
              <a:gd name="connsiteX55" fmla="*/ 8519 w 10000"/>
              <a:gd name="connsiteY55" fmla="*/ 5019 h 10000"/>
              <a:gd name="connsiteX56" fmla="*/ 8616 w 10000"/>
              <a:gd name="connsiteY56" fmla="*/ 4709 h 10000"/>
              <a:gd name="connsiteX57" fmla="*/ 8658 w 10000"/>
              <a:gd name="connsiteY57" fmla="*/ 5197 h 10000"/>
              <a:gd name="connsiteX58" fmla="*/ 8699 w 10000"/>
              <a:gd name="connsiteY58" fmla="*/ 7287 h 10000"/>
              <a:gd name="connsiteX59" fmla="*/ 8783 w 10000"/>
              <a:gd name="connsiteY59" fmla="*/ 6396 h 10000"/>
              <a:gd name="connsiteX60" fmla="*/ 8879 w 10000"/>
              <a:gd name="connsiteY60" fmla="*/ 7821 h 10000"/>
              <a:gd name="connsiteX61" fmla="*/ 8935 w 10000"/>
              <a:gd name="connsiteY61" fmla="*/ 7910 h 10000"/>
              <a:gd name="connsiteX62" fmla="*/ 8975 w 10000"/>
              <a:gd name="connsiteY62" fmla="*/ 7821 h 10000"/>
              <a:gd name="connsiteX63" fmla="*/ 8975 w 10000"/>
              <a:gd name="connsiteY63" fmla="*/ 7643 h 10000"/>
              <a:gd name="connsiteX64" fmla="*/ 9087 w 10000"/>
              <a:gd name="connsiteY64" fmla="*/ 7821 h 10000"/>
              <a:gd name="connsiteX65" fmla="*/ 9155 w 10000"/>
              <a:gd name="connsiteY65" fmla="*/ 7685 h 10000"/>
              <a:gd name="connsiteX66" fmla="*/ 9184 w 10000"/>
              <a:gd name="connsiteY66" fmla="*/ 7334 h 10000"/>
              <a:gd name="connsiteX67" fmla="*/ 9226 w 10000"/>
              <a:gd name="connsiteY67" fmla="*/ 7685 h 10000"/>
              <a:gd name="connsiteX68" fmla="*/ 9294 w 10000"/>
              <a:gd name="connsiteY68" fmla="*/ 7512 h 10000"/>
              <a:gd name="connsiteX69" fmla="*/ 9405 w 10000"/>
              <a:gd name="connsiteY69" fmla="*/ 7554 h 10000"/>
              <a:gd name="connsiteX70" fmla="*/ 9433 w 10000"/>
              <a:gd name="connsiteY70" fmla="*/ 7774 h 10000"/>
              <a:gd name="connsiteX71" fmla="*/ 9474 w 10000"/>
              <a:gd name="connsiteY71" fmla="*/ 7821 h 10000"/>
              <a:gd name="connsiteX72" fmla="*/ 9515 w 10000"/>
              <a:gd name="connsiteY72" fmla="*/ 7685 h 10000"/>
              <a:gd name="connsiteX73" fmla="*/ 9572 w 10000"/>
              <a:gd name="connsiteY73" fmla="*/ 7774 h 10000"/>
              <a:gd name="connsiteX74" fmla="*/ 9627 w 10000"/>
              <a:gd name="connsiteY74" fmla="*/ 7245 h 10000"/>
              <a:gd name="connsiteX75" fmla="*/ 9711 w 10000"/>
              <a:gd name="connsiteY75" fmla="*/ 7821 h 10000"/>
              <a:gd name="connsiteX76" fmla="*/ 9820 w 10000"/>
              <a:gd name="connsiteY76" fmla="*/ 7465 h 10000"/>
              <a:gd name="connsiteX77" fmla="*/ 9848 w 10000"/>
              <a:gd name="connsiteY77" fmla="*/ 7245 h 10000"/>
              <a:gd name="connsiteX78" fmla="*/ 9916 w 10000"/>
              <a:gd name="connsiteY78" fmla="*/ 7465 h 10000"/>
              <a:gd name="connsiteX79" fmla="*/ 10000 w 10000"/>
              <a:gd name="connsiteY79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81 w 10000"/>
              <a:gd name="connsiteY46" fmla="*/ 1331 h 10000"/>
              <a:gd name="connsiteX47" fmla="*/ 5809 w 10000"/>
              <a:gd name="connsiteY47" fmla="*/ 712 h 10000"/>
              <a:gd name="connsiteX48" fmla="*/ 5946 w 10000"/>
              <a:gd name="connsiteY48" fmla="*/ 89 h 10000"/>
              <a:gd name="connsiteX49" fmla="*/ 6638 w 10000"/>
              <a:gd name="connsiteY49" fmla="*/ 0 h 10000"/>
              <a:gd name="connsiteX50" fmla="*/ 6873 w 10000"/>
              <a:gd name="connsiteY50" fmla="*/ 89 h 10000"/>
              <a:gd name="connsiteX51" fmla="*/ 7011 w 10000"/>
              <a:gd name="connsiteY51" fmla="*/ 356 h 10000"/>
              <a:gd name="connsiteX52" fmla="*/ 7385 w 10000"/>
              <a:gd name="connsiteY52" fmla="*/ 8754 h 10000"/>
              <a:gd name="connsiteX53" fmla="*/ 8174 w 10000"/>
              <a:gd name="connsiteY53" fmla="*/ 8711 h 10000"/>
              <a:gd name="connsiteX54" fmla="*/ 8339 w 10000"/>
              <a:gd name="connsiteY54" fmla="*/ 4667 h 10000"/>
              <a:gd name="connsiteX55" fmla="*/ 8519 w 10000"/>
              <a:gd name="connsiteY55" fmla="*/ 5019 h 10000"/>
              <a:gd name="connsiteX56" fmla="*/ 8616 w 10000"/>
              <a:gd name="connsiteY56" fmla="*/ 4709 h 10000"/>
              <a:gd name="connsiteX57" fmla="*/ 8658 w 10000"/>
              <a:gd name="connsiteY57" fmla="*/ 5197 h 10000"/>
              <a:gd name="connsiteX58" fmla="*/ 8699 w 10000"/>
              <a:gd name="connsiteY58" fmla="*/ 7287 h 10000"/>
              <a:gd name="connsiteX59" fmla="*/ 8783 w 10000"/>
              <a:gd name="connsiteY59" fmla="*/ 6396 h 10000"/>
              <a:gd name="connsiteX60" fmla="*/ 8879 w 10000"/>
              <a:gd name="connsiteY60" fmla="*/ 7821 h 10000"/>
              <a:gd name="connsiteX61" fmla="*/ 8935 w 10000"/>
              <a:gd name="connsiteY61" fmla="*/ 7910 h 10000"/>
              <a:gd name="connsiteX62" fmla="*/ 8975 w 10000"/>
              <a:gd name="connsiteY62" fmla="*/ 7821 h 10000"/>
              <a:gd name="connsiteX63" fmla="*/ 8975 w 10000"/>
              <a:gd name="connsiteY63" fmla="*/ 7643 h 10000"/>
              <a:gd name="connsiteX64" fmla="*/ 9087 w 10000"/>
              <a:gd name="connsiteY64" fmla="*/ 7821 h 10000"/>
              <a:gd name="connsiteX65" fmla="*/ 9155 w 10000"/>
              <a:gd name="connsiteY65" fmla="*/ 7685 h 10000"/>
              <a:gd name="connsiteX66" fmla="*/ 9184 w 10000"/>
              <a:gd name="connsiteY66" fmla="*/ 7334 h 10000"/>
              <a:gd name="connsiteX67" fmla="*/ 9226 w 10000"/>
              <a:gd name="connsiteY67" fmla="*/ 7685 h 10000"/>
              <a:gd name="connsiteX68" fmla="*/ 9294 w 10000"/>
              <a:gd name="connsiteY68" fmla="*/ 7512 h 10000"/>
              <a:gd name="connsiteX69" fmla="*/ 9405 w 10000"/>
              <a:gd name="connsiteY69" fmla="*/ 7554 h 10000"/>
              <a:gd name="connsiteX70" fmla="*/ 9433 w 10000"/>
              <a:gd name="connsiteY70" fmla="*/ 7774 h 10000"/>
              <a:gd name="connsiteX71" fmla="*/ 9474 w 10000"/>
              <a:gd name="connsiteY71" fmla="*/ 7821 h 10000"/>
              <a:gd name="connsiteX72" fmla="*/ 9515 w 10000"/>
              <a:gd name="connsiteY72" fmla="*/ 7685 h 10000"/>
              <a:gd name="connsiteX73" fmla="*/ 9572 w 10000"/>
              <a:gd name="connsiteY73" fmla="*/ 7774 h 10000"/>
              <a:gd name="connsiteX74" fmla="*/ 9627 w 10000"/>
              <a:gd name="connsiteY74" fmla="*/ 7245 h 10000"/>
              <a:gd name="connsiteX75" fmla="*/ 9711 w 10000"/>
              <a:gd name="connsiteY75" fmla="*/ 7821 h 10000"/>
              <a:gd name="connsiteX76" fmla="*/ 9820 w 10000"/>
              <a:gd name="connsiteY76" fmla="*/ 7465 h 10000"/>
              <a:gd name="connsiteX77" fmla="*/ 9848 w 10000"/>
              <a:gd name="connsiteY77" fmla="*/ 7245 h 10000"/>
              <a:gd name="connsiteX78" fmla="*/ 9916 w 10000"/>
              <a:gd name="connsiteY78" fmla="*/ 7465 h 10000"/>
              <a:gd name="connsiteX79" fmla="*/ 10000 w 10000"/>
              <a:gd name="connsiteY79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78 w 10000"/>
              <a:gd name="connsiteY46" fmla="*/ 1364 h 10000"/>
              <a:gd name="connsiteX47" fmla="*/ 5809 w 10000"/>
              <a:gd name="connsiteY47" fmla="*/ 712 h 10000"/>
              <a:gd name="connsiteX48" fmla="*/ 5946 w 10000"/>
              <a:gd name="connsiteY48" fmla="*/ 89 h 10000"/>
              <a:gd name="connsiteX49" fmla="*/ 6638 w 10000"/>
              <a:gd name="connsiteY49" fmla="*/ 0 h 10000"/>
              <a:gd name="connsiteX50" fmla="*/ 6873 w 10000"/>
              <a:gd name="connsiteY50" fmla="*/ 89 h 10000"/>
              <a:gd name="connsiteX51" fmla="*/ 7011 w 10000"/>
              <a:gd name="connsiteY51" fmla="*/ 356 h 10000"/>
              <a:gd name="connsiteX52" fmla="*/ 7385 w 10000"/>
              <a:gd name="connsiteY52" fmla="*/ 8754 h 10000"/>
              <a:gd name="connsiteX53" fmla="*/ 8174 w 10000"/>
              <a:gd name="connsiteY53" fmla="*/ 8711 h 10000"/>
              <a:gd name="connsiteX54" fmla="*/ 8339 w 10000"/>
              <a:gd name="connsiteY54" fmla="*/ 4667 h 10000"/>
              <a:gd name="connsiteX55" fmla="*/ 8519 w 10000"/>
              <a:gd name="connsiteY55" fmla="*/ 5019 h 10000"/>
              <a:gd name="connsiteX56" fmla="*/ 8616 w 10000"/>
              <a:gd name="connsiteY56" fmla="*/ 4709 h 10000"/>
              <a:gd name="connsiteX57" fmla="*/ 8658 w 10000"/>
              <a:gd name="connsiteY57" fmla="*/ 5197 h 10000"/>
              <a:gd name="connsiteX58" fmla="*/ 8699 w 10000"/>
              <a:gd name="connsiteY58" fmla="*/ 7287 h 10000"/>
              <a:gd name="connsiteX59" fmla="*/ 8783 w 10000"/>
              <a:gd name="connsiteY59" fmla="*/ 6396 h 10000"/>
              <a:gd name="connsiteX60" fmla="*/ 8879 w 10000"/>
              <a:gd name="connsiteY60" fmla="*/ 7821 h 10000"/>
              <a:gd name="connsiteX61" fmla="*/ 8935 w 10000"/>
              <a:gd name="connsiteY61" fmla="*/ 7910 h 10000"/>
              <a:gd name="connsiteX62" fmla="*/ 8975 w 10000"/>
              <a:gd name="connsiteY62" fmla="*/ 7821 h 10000"/>
              <a:gd name="connsiteX63" fmla="*/ 8975 w 10000"/>
              <a:gd name="connsiteY63" fmla="*/ 7643 h 10000"/>
              <a:gd name="connsiteX64" fmla="*/ 9087 w 10000"/>
              <a:gd name="connsiteY64" fmla="*/ 7821 h 10000"/>
              <a:gd name="connsiteX65" fmla="*/ 9155 w 10000"/>
              <a:gd name="connsiteY65" fmla="*/ 7685 h 10000"/>
              <a:gd name="connsiteX66" fmla="*/ 9184 w 10000"/>
              <a:gd name="connsiteY66" fmla="*/ 7334 h 10000"/>
              <a:gd name="connsiteX67" fmla="*/ 9226 w 10000"/>
              <a:gd name="connsiteY67" fmla="*/ 7685 h 10000"/>
              <a:gd name="connsiteX68" fmla="*/ 9294 w 10000"/>
              <a:gd name="connsiteY68" fmla="*/ 7512 h 10000"/>
              <a:gd name="connsiteX69" fmla="*/ 9405 w 10000"/>
              <a:gd name="connsiteY69" fmla="*/ 7554 h 10000"/>
              <a:gd name="connsiteX70" fmla="*/ 9433 w 10000"/>
              <a:gd name="connsiteY70" fmla="*/ 7774 h 10000"/>
              <a:gd name="connsiteX71" fmla="*/ 9474 w 10000"/>
              <a:gd name="connsiteY71" fmla="*/ 7821 h 10000"/>
              <a:gd name="connsiteX72" fmla="*/ 9515 w 10000"/>
              <a:gd name="connsiteY72" fmla="*/ 7685 h 10000"/>
              <a:gd name="connsiteX73" fmla="*/ 9572 w 10000"/>
              <a:gd name="connsiteY73" fmla="*/ 7774 h 10000"/>
              <a:gd name="connsiteX74" fmla="*/ 9627 w 10000"/>
              <a:gd name="connsiteY74" fmla="*/ 7245 h 10000"/>
              <a:gd name="connsiteX75" fmla="*/ 9711 w 10000"/>
              <a:gd name="connsiteY75" fmla="*/ 7821 h 10000"/>
              <a:gd name="connsiteX76" fmla="*/ 9820 w 10000"/>
              <a:gd name="connsiteY76" fmla="*/ 7465 h 10000"/>
              <a:gd name="connsiteX77" fmla="*/ 9848 w 10000"/>
              <a:gd name="connsiteY77" fmla="*/ 7245 h 10000"/>
              <a:gd name="connsiteX78" fmla="*/ 9916 w 10000"/>
              <a:gd name="connsiteY78" fmla="*/ 7465 h 10000"/>
              <a:gd name="connsiteX79" fmla="*/ 10000 w 10000"/>
              <a:gd name="connsiteY79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78 w 10000"/>
              <a:gd name="connsiteY46" fmla="*/ 1364 h 10000"/>
              <a:gd name="connsiteX47" fmla="*/ 5946 w 10000"/>
              <a:gd name="connsiteY47" fmla="*/ 89 h 10000"/>
              <a:gd name="connsiteX48" fmla="*/ 6638 w 10000"/>
              <a:gd name="connsiteY48" fmla="*/ 0 h 10000"/>
              <a:gd name="connsiteX49" fmla="*/ 6873 w 10000"/>
              <a:gd name="connsiteY49" fmla="*/ 89 h 10000"/>
              <a:gd name="connsiteX50" fmla="*/ 7011 w 10000"/>
              <a:gd name="connsiteY50" fmla="*/ 356 h 10000"/>
              <a:gd name="connsiteX51" fmla="*/ 7385 w 10000"/>
              <a:gd name="connsiteY51" fmla="*/ 8754 h 10000"/>
              <a:gd name="connsiteX52" fmla="*/ 8174 w 10000"/>
              <a:gd name="connsiteY52" fmla="*/ 8711 h 10000"/>
              <a:gd name="connsiteX53" fmla="*/ 8339 w 10000"/>
              <a:gd name="connsiteY53" fmla="*/ 4667 h 10000"/>
              <a:gd name="connsiteX54" fmla="*/ 8519 w 10000"/>
              <a:gd name="connsiteY54" fmla="*/ 5019 h 10000"/>
              <a:gd name="connsiteX55" fmla="*/ 8616 w 10000"/>
              <a:gd name="connsiteY55" fmla="*/ 4709 h 10000"/>
              <a:gd name="connsiteX56" fmla="*/ 8658 w 10000"/>
              <a:gd name="connsiteY56" fmla="*/ 5197 h 10000"/>
              <a:gd name="connsiteX57" fmla="*/ 8699 w 10000"/>
              <a:gd name="connsiteY57" fmla="*/ 7287 h 10000"/>
              <a:gd name="connsiteX58" fmla="*/ 8783 w 10000"/>
              <a:gd name="connsiteY58" fmla="*/ 6396 h 10000"/>
              <a:gd name="connsiteX59" fmla="*/ 8879 w 10000"/>
              <a:gd name="connsiteY59" fmla="*/ 7821 h 10000"/>
              <a:gd name="connsiteX60" fmla="*/ 8935 w 10000"/>
              <a:gd name="connsiteY60" fmla="*/ 7910 h 10000"/>
              <a:gd name="connsiteX61" fmla="*/ 8975 w 10000"/>
              <a:gd name="connsiteY61" fmla="*/ 7821 h 10000"/>
              <a:gd name="connsiteX62" fmla="*/ 8975 w 10000"/>
              <a:gd name="connsiteY62" fmla="*/ 7643 h 10000"/>
              <a:gd name="connsiteX63" fmla="*/ 9087 w 10000"/>
              <a:gd name="connsiteY63" fmla="*/ 7821 h 10000"/>
              <a:gd name="connsiteX64" fmla="*/ 9155 w 10000"/>
              <a:gd name="connsiteY64" fmla="*/ 7685 h 10000"/>
              <a:gd name="connsiteX65" fmla="*/ 9184 w 10000"/>
              <a:gd name="connsiteY65" fmla="*/ 7334 h 10000"/>
              <a:gd name="connsiteX66" fmla="*/ 9226 w 10000"/>
              <a:gd name="connsiteY66" fmla="*/ 7685 h 10000"/>
              <a:gd name="connsiteX67" fmla="*/ 9294 w 10000"/>
              <a:gd name="connsiteY67" fmla="*/ 7512 h 10000"/>
              <a:gd name="connsiteX68" fmla="*/ 9405 w 10000"/>
              <a:gd name="connsiteY68" fmla="*/ 7554 h 10000"/>
              <a:gd name="connsiteX69" fmla="*/ 9433 w 10000"/>
              <a:gd name="connsiteY69" fmla="*/ 7774 h 10000"/>
              <a:gd name="connsiteX70" fmla="*/ 9474 w 10000"/>
              <a:gd name="connsiteY70" fmla="*/ 7821 h 10000"/>
              <a:gd name="connsiteX71" fmla="*/ 9515 w 10000"/>
              <a:gd name="connsiteY71" fmla="*/ 7685 h 10000"/>
              <a:gd name="connsiteX72" fmla="*/ 9572 w 10000"/>
              <a:gd name="connsiteY72" fmla="*/ 7774 h 10000"/>
              <a:gd name="connsiteX73" fmla="*/ 9627 w 10000"/>
              <a:gd name="connsiteY73" fmla="*/ 7245 h 10000"/>
              <a:gd name="connsiteX74" fmla="*/ 9711 w 10000"/>
              <a:gd name="connsiteY74" fmla="*/ 7821 h 10000"/>
              <a:gd name="connsiteX75" fmla="*/ 9820 w 10000"/>
              <a:gd name="connsiteY75" fmla="*/ 7465 h 10000"/>
              <a:gd name="connsiteX76" fmla="*/ 9848 w 10000"/>
              <a:gd name="connsiteY76" fmla="*/ 7245 h 10000"/>
              <a:gd name="connsiteX77" fmla="*/ 9916 w 10000"/>
              <a:gd name="connsiteY77" fmla="*/ 7465 h 10000"/>
              <a:gd name="connsiteX78" fmla="*/ 10000 w 10000"/>
              <a:gd name="connsiteY78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78 w 10000"/>
              <a:gd name="connsiteY46" fmla="*/ 1364 h 10000"/>
              <a:gd name="connsiteX47" fmla="*/ 5946 w 10000"/>
              <a:gd name="connsiteY47" fmla="*/ 89 h 10000"/>
              <a:gd name="connsiteX48" fmla="*/ 6638 w 10000"/>
              <a:gd name="connsiteY48" fmla="*/ 0 h 10000"/>
              <a:gd name="connsiteX49" fmla="*/ 6873 w 10000"/>
              <a:gd name="connsiteY49" fmla="*/ 89 h 10000"/>
              <a:gd name="connsiteX50" fmla="*/ 7011 w 10000"/>
              <a:gd name="connsiteY50" fmla="*/ 356 h 10000"/>
              <a:gd name="connsiteX51" fmla="*/ 7385 w 10000"/>
              <a:gd name="connsiteY51" fmla="*/ 8754 h 10000"/>
              <a:gd name="connsiteX52" fmla="*/ 8174 w 10000"/>
              <a:gd name="connsiteY52" fmla="*/ 8711 h 10000"/>
              <a:gd name="connsiteX53" fmla="*/ 8339 w 10000"/>
              <a:gd name="connsiteY53" fmla="*/ 4667 h 10000"/>
              <a:gd name="connsiteX54" fmla="*/ 8519 w 10000"/>
              <a:gd name="connsiteY54" fmla="*/ 5019 h 10000"/>
              <a:gd name="connsiteX55" fmla="*/ 8616 w 10000"/>
              <a:gd name="connsiteY55" fmla="*/ 4709 h 10000"/>
              <a:gd name="connsiteX56" fmla="*/ 8658 w 10000"/>
              <a:gd name="connsiteY56" fmla="*/ 5197 h 10000"/>
              <a:gd name="connsiteX57" fmla="*/ 8699 w 10000"/>
              <a:gd name="connsiteY57" fmla="*/ 7287 h 10000"/>
              <a:gd name="connsiteX58" fmla="*/ 8783 w 10000"/>
              <a:gd name="connsiteY58" fmla="*/ 6396 h 10000"/>
              <a:gd name="connsiteX59" fmla="*/ 8879 w 10000"/>
              <a:gd name="connsiteY59" fmla="*/ 7821 h 10000"/>
              <a:gd name="connsiteX60" fmla="*/ 8935 w 10000"/>
              <a:gd name="connsiteY60" fmla="*/ 7910 h 10000"/>
              <a:gd name="connsiteX61" fmla="*/ 8975 w 10000"/>
              <a:gd name="connsiteY61" fmla="*/ 7821 h 10000"/>
              <a:gd name="connsiteX62" fmla="*/ 8975 w 10000"/>
              <a:gd name="connsiteY62" fmla="*/ 7643 h 10000"/>
              <a:gd name="connsiteX63" fmla="*/ 9087 w 10000"/>
              <a:gd name="connsiteY63" fmla="*/ 7821 h 10000"/>
              <a:gd name="connsiteX64" fmla="*/ 9155 w 10000"/>
              <a:gd name="connsiteY64" fmla="*/ 7685 h 10000"/>
              <a:gd name="connsiteX65" fmla="*/ 9184 w 10000"/>
              <a:gd name="connsiteY65" fmla="*/ 7334 h 10000"/>
              <a:gd name="connsiteX66" fmla="*/ 9226 w 10000"/>
              <a:gd name="connsiteY66" fmla="*/ 7685 h 10000"/>
              <a:gd name="connsiteX67" fmla="*/ 9294 w 10000"/>
              <a:gd name="connsiteY67" fmla="*/ 7512 h 10000"/>
              <a:gd name="connsiteX68" fmla="*/ 9405 w 10000"/>
              <a:gd name="connsiteY68" fmla="*/ 7554 h 10000"/>
              <a:gd name="connsiteX69" fmla="*/ 9433 w 10000"/>
              <a:gd name="connsiteY69" fmla="*/ 7774 h 10000"/>
              <a:gd name="connsiteX70" fmla="*/ 9474 w 10000"/>
              <a:gd name="connsiteY70" fmla="*/ 7821 h 10000"/>
              <a:gd name="connsiteX71" fmla="*/ 9515 w 10000"/>
              <a:gd name="connsiteY71" fmla="*/ 7685 h 10000"/>
              <a:gd name="connsiteX72" fmla="*/ 9572 w 10000"/>
              <a:gd name="connsiteY72" fmla="*/ 7774 h 10000"/>
              <a:gd name="connsiteX73" fmla="*/ 9627 w 10000"/>
              <a:gd name="connsiteY73" fmla="*/ 7245 h 10000"/>
              <a:gd name="connsiteX74" fmla="*/ 9711 w 10000"/>
              <a:gd name="connsiteY74" fmla="*/ 7821 h 10000"/>
              <a:gd name="connsiteX75" fmla="*/ 9820 w 10000"/>
              <a:gd name="connsiteY75" fmla="*/ 7465 h 10000"/>
              <a:gd name="connsiteX76" fmla="*/ 9848 w 10000"/>
              <a:gd name="connsiteY76" fmla="*/ 7245 h 10000"/>
              <a:gd name="connsiteX77" fmla="*/ 9916 w 10000"/>
              <a:gd name="connsiteY77" fmla="*/ 7465 h 10000"/>
              <a:gd name="connsiteX78" fmla="*/ 10000 w 10000"/>
              <a:gd name="connsiteY78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78 w 10000"/>
              <a:gd name="connsiteY46" fmla="*/ 1364 h 10000"/>
              <a:gd name="connsiteX47" fmla="*/ 5946 w 10000"/>
              <a:gd name="connsiteY47" fmla="*/ 89 h 10000"/>
              <a:gd name="connsiteX48" fmla="*/ 6638 w 10000"/>
              <a:gd name="connsiteY48" fmla="*/ 0 h 10000"/>
              <a:gd name="connsiteX49" fmla="*/ 6873 w 10000"/>
              <a:gd name="connsiteY49" fmla="*/ 89 h 10000"/>
              <a:gd name="connsiteX50" fmla="*/ 7011 w 10000"/>
              <a:gd name="connsiteY50" fmla="*/ 356 h 10000"/>
              <a:gd name="connsiteX51" fmla="*/ 7385 w 10000"/>
              <a:gd name="connsiteY51" fmla="*/ 8754 h 10000"/>
              <a:gd name="connsiteX52" fmla="*/ 8174 w 10000"/>
              <a:gd name="connsiteY52" fmla="*/ 8711 h 10000"/>
              <a:gd name="connsiteX53" fmla="*/ 8339 w 10000"/>
              <a:gd name="connsiteY53" fmla="*/ 4667 h 10000"/>
              <a:gd name="connsiteX54" fmla="*/ 8519 w 10000"/>
              <a:gd name="connsiteY54" fmla="*/ 5019 h 10000"/>
              <a:gd name="connsiteX55" fmla="*/ 8616 w 10000"/>
              <a:gd name="connsiteY55" fmla="*/ 4709 h 10000"/>
              <a:gd name="connsiteX56" fmla="*/ 8658 w 10000"/>
              <a:gd name="connsiteY56" fmla="*/ 5197 h 10000"/>
              <a:gd name="connsiteX57" fmla="*/ 8699 w 10000"/>
              <a:gd name="connsiteY57" fmla="*/ 7287 h 10000"/>
              <a:gd name="connsiteX58" fmla="*/ 8783 w 10000"/>
              <a:gd name="connsiteY58" fmla="*/ 6396 h 10000"/>
              <a:gd name="connsiteX59" fmla="*/ 8879 w 10000"/>
              <a:gd name="connsiteY59" fmla="*/ 7821 h 10000"/>
              <a:gd name="connsiteX60" fmla="*/ 8935 w 10000"/>
              <a:gd name="connsiteY60" fmla="*/ 7910 h 10000"/>
              <a:gd name="connsiteX61" fmla="*/ 8975 w 10000"/>
              <a:gd name="connsiteY61" fmla="*/ 7821 h 10000"/>
              <a:gd name="connsiteX62" fmla="*/ 8975 w 10000"/>
              <a:gd name="connsiteY62" fmla="*/ 7643 h 10000"/>
              <a:gd name="connsiteX63" fmla="*/ 9087 w 10000"/>
              <a:gd name="connsiteY63" fmla="*/ 7821 h 10000"/>
              <a:gd name="connsiteX64" fmla="*/ 9155 w 10000"/>
              <a:gd name="connsiteY64" fmla="*/ 7685 h 10000"/>
              <a:gd name="connsiteX65" fmla="*/ 9184 w 10000"/>
              <a:gd name="connsiteY65" fmla="*/ 7334 h 10000"/>
              <a:gd name="connsiteX66" fmla="*/ 9226 w 10000"/>
              <a:gd name="connsiteY66" fmla="*/ 7685 h 10000"/>
              <a:gd name="connsiteX67" fmla="*/ 9294 w 10000"/>
              <a:gd name="connsiteY67" fmla="*/ 7512 h 10000"/>
              <a:gd name="connsiteX68" fmla="*/ 9405 w 10000"/>
              <a:gd name="connsiteY68" fmla="*/ 7554 h 10000"/>
              <a:gd name="connsiteX69" fmla="*/ 9433 w 10000"/>
              <a:gd name="connsiteY69" fmla="*/ 7774 h 10000"/>
              <a:gd name="connsiteX70" fmla="*/ 9474 w 10000"/>
              <a:gd name="connsiteY70" fmla="*/ 7821 h 10000"/>
              <a:gd name="connsiteX71" fmla="*/ 9515 w 10000"/>
              <a:gd name="connsiteY71" fmla="*/ 7685 h 10000"/>
              <a:gd name="connsiteX72" fmla="*/ 9572 w 10000"/>
              <a:gd name="connsiteY72" fmla="*/ 7774 h 10000"/>
              <a:gd name="connsiteX73" fmla="*/ 9627 w 10000"/>
              <a:gd name="connsiteY73" fmla="*/ 7245 h 10000"/>
              <a:gd name="connsiteX74" fmla="*/ 9711 w 10000"/>
              <a:gd name="connsiteY74" fmla="*/ 7821 h 10000"/>
              <a:gd name="connsiteX75" fmla="*/ 9820 w 10000"/>
              <a:gd name="connsiteY75" fmla="*/ 7465 h 10000"/>
              <a:gd name="connsiteX76" fmla="*/ 9848 w 10000"/>
              <a:gd name="connsiteY76" fmla="*/ 7245 h 10000"/>
              <a:gd name="connsiteX77" fmla="*/ 9916 w 10000"/>
              <a:gd name="connsiteY77" fmla="*/ 7465 h 10000"/>
              <a:gd name="connsiteX78" fmla="*/ 10000 w 10000"/>
              <a:gd name="connsiteY78" fmla="*/ 7376 h 10000"/>
              <a:gd name="connsiteX0" fmla="*/ 0 w 10000"/>
              <a:gd name="connsiteY0" fmla="*/ 9911 h 9911"/>
              <a:gd name="connsiteX1" fmla="*/ 452 w 10000"/>
              <a:gd name="connsiteY1" fmla="*/ 2076 h 9911"/>
              <a:gd name="connsiteX2" fmla="*/ 563 w 10000"/>
              <a:gd name="connsiteY2" fmla="*/ 1954 h 9911"/>
              <a:gd name="connsiteX3" fmla="*/ 632 w 10000"/>
              <a:gd name="connsiteY3" fmla="*/ 1598 h 9911"/>
              <a:gd name="connsiteX4" fmla="*/ 702 w 10000"/>
              <a:gd name="connsiteY4" fmla="*/ 1598 h 9911"/>
              <a:gd name="connsiteX5" fmla="*/ 746 w 10000"/>
              <a:gd name="connsiteY5" fmla="*/ 2493 h 9911"/>
              <a:gd name="connsiteX6" fmla="*/ 840 w 10000"/>
              <a:gd name="connsiteY6" fmla="*/ 1556 h 9911"/>
              <a:gd name="connsiteX7" fmla="*/ 948 w 10000"/>
              <a:gd name="connsiteY7" fmla="*/ 2493 h 9911"/>
              <a:gd name="connsiteX8" fmla="*/ 1007 w 10000"/>
              <a:gd name="connsiteY8" fmla="*/ 1556 h 9911"/>
              <a:gd name="connsiteX9" fmla="*/ 1062 w 10000"/>
              <a:gd name="connsiteY9" fmla="*/ 1823 h 9911"/>
              <a:gd name="connsiteX10" fmla="*/ 1103 w 10000"/>
              <a:gd name="connsiteY10" fmla="*/ 1467 h 9911"/>
              <a:gd name="connsiteX11" fmla="*/ 1152 w 10000"/>
              <a:gd name="connsiteY11" fmla="*/ 2541 h 9911"/>
              <a:gd name="connsiteX12" fmla="*/ 1228 w 10000"/>
              <a:gd name="connsiteY12" fmla="*/ 1289 h 9911"/>
              <a:gd name="connsiteX13" fmla="*/ 1232 w 10000"/>
              <a:gd name="connsiteY13" fmla="*/ 2287 h 9911"/>
              <a:gd name="connsiteX14" fmla="*/ 1294 w 10000"/>
              <a:gd name="connsiteY14" fmla="*/ 2637 h 9911"/>
              <a:gd name="connsiteX15" fmla="*/ 1342 w 10000"/>
              <a:gd name="connsiteY15" fmla="*/ 2424 h 9911"/>
              <a:gd name="connsiteX16" fmla="*/ 1367 w 10000"/>
              <a:gd name="connsiteY16" fmla="*/ 1734 h 9911"/>
              <a:gd name="connsiteX17" fmla="*/ 1460 w 10000"/>
              <a:gd name="connsiteY17" fmla="*/ 2637 h 9911"/>
              <a:gd name="connsiteX18" fmla="*/ 1537 w 10000"/>
              <a:gd name="connsiteY18" fmla="*/ 2271 h 9911"/>
              <a:gd name="connsiteX19" fmla="*/ 1575 w 10000"/>
              <a:gd name="connsiteY19" fmla="*/ 1111 h 9911"/>
              <a:gd name="connsiteX20" fmla="*/ 1601 w 10000"/>
              <a:gd name="connsiteY20" fmla="*/ 2404 h 9911"/>
              <a:gd name="connsiteX21" fmla="*/ 1629 w 10000"/>
              <a:gd name="connsiteY21" fmla="*/ 2090 h 9911"/>
              <a:gd name="connsiteX22" fmla="*/ 1640 w 10000"/>
              <a:gd name="connsiteY22" fmla="*/ 2312 h 9911"/>
              <a:gd name="connsiteX23" fmla="*/ 1699 w 10000"/>
              <a:gd name="connsiteY23" fmla="*/ 1776 h 9911"/>
              <a:gd name="connsiteX24" fmla="*/ 1796 w 10000"/>
              <a:gd name="connsiteY24" fmla="*/ 2352 h 9911"/>
              <a:gd name="connsiteX25" fmla="*/ 1791 w 10000"/>
              <a:gd name="connsiteY25" fmla="*/ 2894 h 9911"/>
              <a:gd name="connsiteX26" fmla="*/ 1854 w 10000"/>
              <a:gd name="connsiteY26" fmla="*/ 3239 h 9911"/>
              <a:gd name="connsiteX27" fmla="*/ 1892 w 10000"/>
              <a:gd name="connsiteY27" fmla="*/ 2666 h 9911"/>
              <a:gd name="connsiteX28" fmla="*/ 1940 w 10000"/>
              <a:gd name="connsiteY28" fmla="*/ 3289 h 9911"/>
              <a:gd name="connsiteX29" fmla="*/ 2031 w 10000"/>
              <a:gd name="connsiteY29" fmla="*/ 1467 h 9911"/>
              <a:gd name="connsiteX30" fmla="*/ 2097 w 10000"/>
              <a:gd name="connsiteY30" fmla="*/ 3515 h 9911"/>
              <a:gd name="connsiteX31" fmla="*/ 2224 w 10000"/>
              <a:gd name="connsiteY31" fmla="*/ 2488 h 9911"/>
              <a:gd name="connsiteX32" fmla="*/ 2237 w 10000"/>
              <a:gd name="connsiteY32" fmla="*/ 1954 h 9911"/>
              <a:gd name="connsiteX33" fmla="*/ 2316 w 10000"/>
              <a:gd name="connsiteY33" fmla="*/ 2726 h 9911"/>
              <a:gd name="connsiteX34" fmla="*/ 2376 w 10000"/>
              <a:gd name="connsiteY34" fmla="*/ 2221 h 9911"/>
              <a:gd name="connsiteX35" fmla="*/ 2431 w 10000"/>
              <a:gd name="connsiteY35" fmla="*/ 2132 h 9911"/>
              <a:gd name="connsiteX36" fmla="*/ 2529 w 10000"/>
              <a:gd name="connsiteY36" fmla="*/ 1556 h 9911"/>
              <a:gd name="connsiteX37" fmla="*/ 2686 w 10000"/>
              <a:gd name="connsiteY37" fmla="*/ 1482 h 9911"/>
              <a:gd name="connsiteX38" fmla="*/ 3124 w 10000"/>
              <a:gd name="connsiteY38" fmla="*/ 1775 h 9911"/>
              <a:gd name="connsiteX39" fmla="*/ 3227 w 10000"/>
              <a:gd name="connsiteY39" fmla="*/ 2795 h 9911"/>
              <a:gd name="connsiteX40" fmla="*/ 3590 w 10000"/>
              <a:gd name="connsiteY40" fmla="*/ 2478 h 9911"/>
              <a:gd name="connsiteX41" fmla="*/ 3685 w 10000"/>
              <a:gd name="connsiteY41" fmla="*/ 1419 h 9911"/>
              <a:gd name="connsiteX42" fmla="*/ 3779 w 10000"/>
              <a:gd name="connsiteY42" fmla="*/ 1045 h 9911"/>
              <a:gd name="connsiteX43" fmla="*/ 4299 w 10000"/>
              <a:gd name="connsiteY43" fmla="*/ 6621 h 9911"/>
              <a:gd name="connsiteX44" fmla="*/ 4577 w 10000"/>
              <a:gd name="connsiteY44" fmla="*/ 6621 h 9911"/>
              <a:gd name="connsiteX45" fmla="*/ 5237 w 10000"/>
              <a:gd name="connsiteY45" fmla="*/ 657 h 9911"/>
              <a:gd name="connsiteX46" fmla="*/ 5778 w 10000"/>
              <a:gd name="connsiteY46" fmla="*/ 1275 h 9911"/>
              <a:gd name="connsiteX47" fmla="*/ 5946 w 10000"/>
              <a:gd name="connsiteY47" fmla="*/ 0 h 9911"/>
              <a:gd name="connsiteX48" fmla="*/ 6493 w 10000"/>
              <a:gd name="connsiteY48" fmla="*/ 110 h 9911"/>
              <a:gd name="connsiteX49" fmla="*/ 6873 w 10000"/>
              <a:gd name="connsiteY49" fmla="*/ 0 h 9911"/>
              <a:gd name="connsiteX50" fmla="*/ 7011 w 10000"/>
              <a:gd name="connsiteY50" fmla="*/ 267 h 9911"/>
              <a:gd name="connsiteX51" fmla="*/ 7385 w 10000"/>
              <a:gd name="connsiteY51" fmla="*/ 8665 h 9911"/>
              <a:gd name="connsiteX52" fmla="*/ 8174 w 10000"/>
              <a:gd name="connsiteY52" fmla="*/ 8622 h 9911"/>
              <a:gd name="connsiteX53" fmla="*/ 8339 w 10000"/>
              <a:gd name="connsiteY53" fmla="*/ 4578 h 9911"/>
              <a:gd name="connsiteX54" fmla="*/ 8519 w 10000"/>
              <a:gd name="connsiteY54" fmla="*/ 4930 h 9911"/>
              <a:gd name="connsiteX55" fmla="*/ 8616 w 10000"/>
              <a:gd name="connsiteY55" fmla="*/ 4620 h 9911"/>
              <a:gd name="connsiteX56" fmla="*/ 8658 w 10000"/>
              <a:gd name="connsiteY56" fmla="*/ 5108 h 9911"/>
              <a:gd name="connsiteX57" fmla="*/ 8699 w 10000"/>
              <a:gd name="connsiteY57" fmla="*/ 7198 h 9911"/>
              <a:gd name="connsiteX58" fmla="*/ 8783 w 10000"/>
              <a:gd name="connsiteY58" fmla="*/ 6307 h 9911"/>
              <a:gd name="connsiteX59" fmla="*/ 8879 w 10000"/>
              <a:gd name="connsiteY59" fmla="*/ 7732 h 9911"/>
              <a:gd name="connsiteX60" fmla="*/ 8935 w 10000"/>
              <a:gd name="connsiteY60" fmla="*/ 7821 h 9911"/>
              <a:gd name="connsiteX61" fmla="*/ 8975 w 10000"/>
              <a:gd name="connsiteY61" fmla="*/ 7732 h 9911"/>
              <a:gd name="connsiteX62" fmla="*/ 8975 w 10000"/>
              <a:gd name="connsiteY62" fmla="*/ 7554 h 9911"/>
              <a:gd name="connsiteX63" fmla="*/ 9087 w 10000"/>
              <a:gd name="connsiteY63" fmla="*/ 7732 h 9911"/>
              <a:gd name="connsiteX64" fmla="*/ 9155 w 10000"/>
              <a:gd name="connsiteY64" fmla="*/ 7596 h 9911"/>
              <a:gd name="connsiteX65" fmla="*/ 9184 w 10000"/>
              <a:gd name="connsiteY65" fmla="*/ 7245 h 9911"/>
              <a:gd name="connsiteX66" fmla="*/ 9226 w 10000"/>
              <a:gd name="connsiteY66" fmla="*/ 7596 h 9911"/>
              <a:gd name="connsiteX67" fmla="*/ 9294 w 10000"/>
              <a:gd name="connsiteY67" fmla="*/ 7423 h 9911"/>
              <a:gd name="connsiteX68" fmla="*/ 9405 w 10000"/>
              <a:gd name="connsiteY68" fmla="*/ 7465 h 9911"/>
              <a:gd name="connsiteX69" fmla="*/ 9433 w 10000"/>
              <a:gd name="connsiteY69" fmla="*/ 7685 h 9911"/>
              <a:gd name="connsiteX70" fmla="*/ 9474 w 10000"/>
              <a:gd name="connsiteY70" fmla="*/ 7732 h 9911"/>
              <a:gd name="connsiteX71" fmla="*/ 9515 w 10000"/>
              <a:gd name="connsiteY71" fmla="*/ 7596 h 9911"/>
              <a:gd name="connsiteX72" fmla="*/ 9572 w 10000"/>
              <a:gd name="connsiteY72" fmla="*/ 7685 h 9911"/>
              <a:gd name="connsiteX73" fmla="*/ 9627 w 10000"/>
              <a:gd name="connsiteY73" fmla="*/ 7156 h 9911"/>
              <a:gd name="connsiteX74" fmla="*/ 9711 w 10000"/>
              <a:gd name="connsiteY74" fmla="*/ 7732 h 9911"/>
              <a:gd name="connsiteX75" fmla="*/ 9820 w 10000"/>
              <a:gd name="connsiteY75" fmla="*/ 7376 h 9911"/>
              <a:gd name="connsiteX76" fmla="*/ 9848 w 10000"/>
              <a:gd name="connsiteY76" fmla="*/ 7156 h 9911"/>
              <a:gd name="connsiteX77" fmla="*/ 9916 w 10000"/>
              <a:gd name="connsiteY77" fmla="*/ 7376 h 9911"/>
              <a:gd name="connsiteX78" fmla="*/ 10000 w 10000"/>
              <a:gd name="connsiteY78" fmla="*/ 7287 h 9911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11 w 10000"/>
              <a:gd name="connsiteY50" fmla="*/ 269 h 10000"/>
              <a:gd name="connsiteX51" fmla="*/ 7385 w 10000"/>
              <a:gd name="connsiteY51" fmla="*/ 874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385 w 10000"/>
              <a:gd name="connsiteY51" fmla="*/ 874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385 w 10000"/>
              <a:gd name="connsiteY51" fmla="*/ 874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385 w 10000"/>
              <a:gd name="connsiteY51" fmla="*/ 874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3 w 10000"/>
              <a:gd name="connsiteY51" fmla="*/ 596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3 w 10000"/>
              <a:gd name="connsiteY51" fmla="*/ 596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3 w 10000"/>
              <a:gd name="connsiteY51" fmla="*/ 596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3 w 10000"/>
              <a:gd name="connsiteY51" fmla="*/ 5963 h 10000"/>
              <a:gd name="connsiteX52" fmla="*/ 8179 w 10000"/>
              <a:gd name="connsiteY52" fmla="*/ 6028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8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99 w 10000"/>
              <a:gd name="connsiteY56" fmla="*/ 7263 h 10000"/>
              <a:gd name="connsiteX57" fmla="*/ 8783 w 10000"/>
              <a:gd name="connsiteY57" fmla="*/ 6364 h 10000"/>
              <a:gd name="connsiteX58" fmla="*/ 8879 w 10000"/>
              <a:gd name="connsiteY58" fmla="*/ 7801 h 10000"/>
              <a:gd name="connsiteX59" fmla="*/ 8935 w 10000"/>
              <a:gd name="connsiteY59" fmla="*/ 7891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83 w 10000"/>
              <a:gd name="connsiteY57" fmla="*/ 6364 h 10000"/>
              <a:gd name="connsiteX58" fmla="*/ 8879 w 10000"/>
              <a:gd name="connsiteY58" fmla="*/ 7801 h 10000"/>
              <a:gd name="connsiteX59" fmla="*/ 8935 w 10000"/>
              <a:gd name="connsiteY59" fmla="*/ 7891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83 w 10000"/>
              <a:gd name="connsiteY57" fmla="*/ 6364 h 10000"/>
              <a:gd name="connsiteX58" fmla="*/ 8879 w 10000"/>
              <a:gd name="connsiteY58" fmla="*/ 7801 h 10000"/>
              <a:gd name="connsiteX59" fmla="*/ 8935 w 10000"/>
              <a:gd name="connsiteY59" fmla="*/ 7891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79 w 10000"/>
              <a:gd name="connsiteY58" fmla="*/ 7801 h 10000"/>
              <a:gd name="connsiteX59" fmla="*/ 8935 w 10000"/>
              <a:gd name="connsiteY59" fmla="*/ 7891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935 w 10000"/>
              <a:gd name="connsiteY59" fmla="*/ 7891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10 w 10000"/>
              <a:gd name="connsiteY60" fmla="*/ 7935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10 w 10000"/>
              <a:gd name="connsiteY60" fmla="*/ 7935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46 w 10000"/>
              <a:gd name="connsiteY64" fmla="*/ 7635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62 w 10000"/>
              <a:gd name="connsiteY65" fmla="*/ 7055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93 w 10000"/>
              <a:gd name="connsiteY70" fmla="*/ 7948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05 w 10000"/>
              <a:gd name="connsiteY68" fmla="*/ 7532 h 10000"/>
              <a:gd name="connsiteX69" fmla="*/ 9439 w 10000"/>
              <a:gd name="connsiteY69" fmla="*/ 7829 h 10000"/>
              <a:gd name="connsiteX70" fmla="*/ 9493 w 10000"/>
              <a:gd name="connsiteY70" fmla="*/ 7948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370 w 10000"/>
              <a:gd name="connsiteY68" fmla="*/ 7930 h 10000"/>
              <a:gd name="connsiteX69" fmla="*/ 9439 w 10000"/>
              <a:gd name="connsiteY69" fmla="*/ 7829 h 10000"/>
              <a:gd name="connsiteX70" fmla="*/ 9493 w 10000"/>
              <a:gd name="connsiteY70" fmla="*/ 7948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370 w 10000"/>
              <a:gd name="connsiteY68" fmla="*/ 7930 h 10000"/>
              <a:gd name="connsiteX69" fmla="*/ 9433 w 10000"/>
              <a:gd name="connsiteY69" fmla="*/ 7687 h 10000"/>
              <a:gd name="connsiteX70" fmla="*/ 9493 w 10000"/>
              <a:gd name="connsiteY70" fmla="*/ 7948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15 w 10000"/>
              <a:gd name="connsiteY70" fmla="*/ 7664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27 w 10000"/>
              <a:gd name="connsiteY70" fmla="*/ 7710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27 w 10000"/>
              <a:gd name="connsiteY70" fmla="*/ 7710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33 w 10000"/>
              <a:gd name="connsiteY73" fmla="*/ 7889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27 w 10000"/>
              <a:gd name="connsiteY70" fmla="*/ 7710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33 w 10000"/>
              <a:gd name="connsiteY73" fmla="*/ 7889 h 10000"/>
              <a:gd name="connsiteX74" fmla="*/ 9846 w 10000"/>
              <a:gd name="connsiteY74" fmla="*/ 7547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27 w 10000"/>
              <a:gd name="connsiteY70" fmla="*/ 7710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33 w 10000"/>
              <a:gd name="connsiteY73" fmla="*/ 7889 h 10000"/>
              <a:gd name="connsiteX74" fmla="*/ 9846 w 10000"/>
              <a:gd name="connsiteY74" fmla="*/ 7547 h 10000"/>
              <a:gd name="connsiteX75" fmla="*/ 9848 w 10000"/>
              <a:gd name="connsiteY75" fmla="*/ 727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27 w 10000"/>
              <a:gd name="connsiteY70" fmla="*/ 7710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33 w 10000"/>
              <a:gd name="connsiteY73" fmla="*/ 7889 h 10000"/>
              <a:gd name="connsiteX74" fmla="*/ 9846 w 10000"/>
              <a:gd name="connsiteY74" fmla="*/ 7547 h 10000"/>
              <a:gd name="connsiteX75" fmla="*/ 9848 w 10000"/>
              <a:gd name="connsiteY75" fmla="*/ 7270 h 10000"/>
              <a:gd name="connsiteX76" fmla="*/ 9934 w 10000"/>
              <a:gd name="connsiteY76" fmla="*/ 7580 h 10000"/>
              <a:gd name="connsiteX77" fmla="*/ 10000 w 10000"/>
              <a:gd name="connsiteY77" fmla="*/ 7352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63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63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63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63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63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262 w 10012"/>
              <a:gd name="connsiteY46" fmla="*/ 724 h 10000"/>
              <a:gd name="connsiteX47" fmla="*/ 5778 w 10012"/>
              <a:gd name="connsiteY47" fmla="*/ 1286 h 10000"/>
              <a:gd name="connsiteX48" fmla="*/ 5946 w 10012"/>
              <a:gd name="connsiteY48" fmla="*/ 0 h 10000"/>
              <a:gd name="connsiteX49" fmla="*/ 6493 w 10012"/>
              <a:gd name="connsiteY49" fmla="*/ 111 h 10000"/>
              <a:gd name="connsiteX50" fmla="*/ 6806 w 10012"/>
              <a:gd name="connsiteY50" fmla="*/ 42 h 10000"/>
              <a:gd name="connsiteX51" fmla="*/ 7003 w 10012"/>
              <a:gd name="connsiteY51" fmla="*/ 361 h 10000"/>
              <a:gd name="connsiteX52" fmla="*/ 7476 w 10012"/>
              <a:gd name="connsiteY52" fmla="*/ 6005 h 10000"/>
              <a:gd name="connsiteX53" fmla="*/ 8179 w 10012"/>
              <a:gd name="connsiteY53" fmla="*/ 6020 h 10000"/>
              <a:gd name="connsiteX54" fmla="*/ 8378 w 10012"/>
              <a:gd name="connsiteY54" fmla="*/ 4920 h 10000"/>
              <a:gd name="connsiteX55" fmla="*/ 8509 w 10012"/>
              <a:gd name="connsiteY55" fmla="*/ 5527 h 10000"/>
              <a:gd name="connsiteX56" fmla="*/ 8594 w 10012"/>
              <a:gd name="connsiteY56" fmla="*/ 4983 h 10000"/>
              <a:gd name="connsiteX57" fmla="*/ 8659 w 10012"/>
              <a:gd name="connsiteY57" fmla="*/ 7656 h 10000"/>
              <a:gd name="connsiteX58" fmla="*/ 8726 w 10012"/>
              <a:gd name="connsiteY58" fmla="*/ 6573 h 10000"/>
              <a:gd name="connsiteX59" fmla="*/ 8822 w 10012"/>
              <a:gd name="connsiteY59" fmla="*/ 7792 h 10000"/>
              <a:gd name="connsiteX60" fmla="*/ 8875 w 10012"/>
              <a:gd name="connsiteY60" fmla="*/ 7573 h 10000"/>
              <a:gd name="connsiteX61" fmla="*/ 8901 w 10012"/>
              <a:gd name="connsiteY61" fmla="*/ 7948 h 10000"/>
              <a:gd name="connsiteX62" fmla="*/ 8998 w 10012"/>
              <a:gd name="connsiteY62" fmla="*/ 7961 h 10000"/>
              <a:gd name="connsiteX63" fmla="*/ 9004 w 10012"/>
              <a:gd name="connsiteY63" fmla="*/ 7688 h 10000"/>
              <a:gd name="connsiteX64" fmla="*/ 9117 w 10012"/>
              <a:gd name="connsiteY64" fmla="*/ 7907 h 10000"/>
              <a:gd name="connsiteX65" fmla="*/ 9180 w 10012"/>
              <a:gd name="connsiteY65" fmla="*/ 7811 h 10000"/>
              <a:gd name="connsiteX66" fmla="*/ 9205 w 10012"/>
              <a:gd name="connsiteY66" fmla="*/ 7352 h 10000"/>
              <a:gd name="connsiteX67" fmla="*/ 9240 w 10012"/>
              <a:gd name="connsiteY67" fmla="*/ 7794 h 10000"/>
              <a:gd name="connsiteX68" fmla="*/ 9319 w 10012"/>
              <a:gd name="connsiteY68" fmla="*/ 7565 h 10000"/>
              <a:gd name="connsiteX69" fmla="*/ 9433 w 10012"/>
              <a:gd name="connsiteY69" fmla="*/ 7687 h 10000"/>
              <a:gd name="connsiteX70" fmla="*/ 9493 w 10012"/>
              <a:gd name="connsiteY70" fmla="*/ 7948 h 10000"/>
              <a:gd name="connsiteX71" fmla="*/ 9527 w 10012"/>
              <a:gd name="connsiteY71" fmla="*/ 7710 h 10000"/>
              <a:gd name="connsiteX72" fmla="*/ 9586 w 10012"/>
              <a:gd name="connsiteY72" fmla="*/ 7913 h 10000"/>
              <a:gd name="connsiteX73" fmla="*/ 9627 w 10012"/>
              <a:gd name="connsiteY73" fmla="*/ 7220 h 10000"/>
              <a:gd name="connsiteX74" fmla="*/ 9733 w 10012"/>
              <a:gd name="connsiteY74" fmla="*/ 7889 h 10000"/>
              <a:gd name="connsiteX75" fmla="*/ 9846 w 10012"/>
              <a:gd name="connsiteY75" fmla="*/ 7547 h 10000"/>
              <a:gd name="connsiteX76" fmla="*/ 9848 w 10012"/>
              <a:gd name="connsiteY76" fmla="*/ 7270 h 10000"/>
              <a:gd name="connsiteX77" fmla="*/ 9934 w 10012"/>
              <a:gd name="connsiteY77" fmla="*/ 7580 h 10000"/>
              <a:gd name="connsiteX78" fmla="*/ 10012 w 10012"/>
              <a:gd name="connsiteY78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262 w 10012"/>
              <a:gd name="connsiteY46" fmla="*/ 745 h 10000"/>
              <a:gd name="connsiteX47" fmla="*/ 5778 w 10012"/>
              <a:gd name="connsiteY47" fmla="*/ 1286 h 10000"/>
              <a:gd name="connsiteX48" fmla="*/ 5946 w 10012"/>
              <a:gd name="connsiteY48" fmla="*/ 0 h 10000"/>
              <a:gd name="connsiteX49" fmla="*/ 6493 w 10012"/>
              <a:gd name="connsiteY49" fmla="*/ 111 h 10000"/>
              <a:gd name="connsiteX50" fmla="*/ 6806 w 10012"/>
              <a:gd name="connsiteY50" fmla="*/ 42 h 10000"/>
              <a:gd name="connsiteX51" fmla="*/ 7003 w 10012"/>
              <a:gd name="connsiteY51" fmla="*/ 361 h 10000"/>
              <a:gd name="connsiteX52" fmla="*/ 7476 w 10012"/>
              <a:gd name="connsiteY52" fmla="*/ 6005 h 10000"/>
              <a:gd name="connsiteX53" fmla="*/ 8179 w 10012"/>
              <a:gd name="connsiteY53" fmla="*/ 6020 h 10000"/>
              <a:gd name="connsiteX54" fmla="*/ 8378 w 10012"/>
              <a:gd name="connsiteY54" fmla="*/ 4920 h 10000"/>
              <a:gd name="connsiteX55" fmla="*/ 8509 w 10012"/>
              <a:gd name="connsiteY55" fmla="*/ 5527 h 10000"/>
              <a:gd name="connsiteX56" fmla="*/ 8594 w 10012"/>
              <a:gd name="connsiteY56" fmla="*/ 4983 h 10000"/>
              <a:gd name="connsiteX57" fmla="*/ 8659 w 10012"/>
              <a:gd name="connsiteY57" fmla="*/ 7656 h 10000"/>
              <a:gd name="connsiteX58" fmla="*/ 8726 w 10012"/>
              <a:gd name="connsiteY58" fmla="*/ 6573 h 10000"/>
              <a:gd name="connsiteX59" fmla="*/ 8822 w 10012"/>
              <a:gd name="connsiteY59" fmla="*/ 7792 h 10000"/>
              <a:gd name="connsiteX60" fmla="*/ 8875 w 10012"/>
              <a:gd name="connsiteY60" fmla="*/ 7573 h 10000"/>
              <a:gd name="connsiteX61" fmla="*/ 8901 w 10012"/>
              <a:gd name="connsiteY61" fmla="*/ 7948 h 10000"/>
              <a:gd name="connsiteX62" fmla="*/ 8998 w 10012"/>
              <a:gd name="connsiteY62" fmla="*/ 7961 h 10000"/>
              <a:gd name="connsiteX63" fmla="*/ 9004 w 10012"/>
              <a:gd name="connsiteY63" fmla="*/ 7688 h 10000"/>
              <a:gd name="connsiteX64" fmla="*/ 9117 w 10012"/>
              <a:gd name="connsiteY64" fmla="*/ 7907 h 10000"/>
              <a:gd name="connsiteX65" fmla="*/ 9180 w 10012"/>
              <a:gd name="connsiteY65" fmla="*/ 7811 h 10000"/>
              <a:gd name="connsiteX66" fmla="*/ 9205 w 10012"/>
              <a:gd name="connsiteY66" fmla="*/ 7352 h 10000"/>
              <a:gd name="connsiteX67" fmla="*/ 9240 w 10012"/>
              <a:gd name="connsiteY67" fmla="*/ 7794 h 10000"/>
              <a:gd name="connsiteX68" fmla="*/ 9319 w 10012"/>
              <a:gd name="connsiteY68" fmla="*/ 7565 h 10000"/>
              <a:gd name="connsiteX69" fmla="*/ 9433 w 10012"/>
              <a:gd name="connsiteY69" fmla="*/ 7687 h 10000"/>
              <a:gd name="connsiteX70" fmla="*/ 9493 w 10012"/>
              <a:gd name="connsiteY70" fmla="*/ 7948 h 10000"/>
              <a:gd name="connsiteX71" fmla="*/ 9527 w 10012"/>
              <a:gd name="connsiteY71" fmla="*/ 7710 h 10000"/>
              <a:gd name="connsiteX72" fmla="*/ 9586 w 10012"/>
              <a:gd name="connsiteY72" fmla="*/ 7913 h 10000"/>
              <a:gd name="connsiteX73" fmla="*/ 9627 w 10012"/>
              <a:gd name="connsiteY73" fmla="*/ 7220 h 10000"/>
              <a:gd name="connsiteX74" fmla="*/ 9733 w 10012"/>
              <a:gd name="connsiteY74" fmla="*/ 7889 h 10000"/>
              <a:gd name="connsiteX75" fmla="*/ 9846 w 10012"/>
              <a:gd name="connsiteY75" fmla="*/ 7547 h 10000"/>
              <a:gd name="connsiteX76" fmla="*/ 9848 w 10012"/>
              <a:gd name="connsiteY76" fmla="*/ 7270 h 10000"/>
              <a:gd name="connsiteX77" fmla="*/ 9934 w 10012"/>
              <a:gd name="connsiteY77" fmla="*/ 7580 h 10000"/>
              <a:gd name="connsiteX78" fmla="*/ 10012 w 10012"/>
              <a:gd name="connsiteY78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63 w 10012"/>
              <a:gd name="connsiteY45" fmla="*/ 766 h 10000"/>
              <a:gd name="connsiteX46" fmla="*/ 5262 w 10012"/>
              <a:gd name="connsiteY46" fmla="*/ 745 h 10000"/>
              <a:gd name="connsiteX47" fmla="*/ 5778 w 10012"/>
              <a:gd name="connsiteY47" fmla="*/ 1286 h 10000"/>
              <a:gd name="connsiteX48" fmla="*/ 5946 w 10012"/>
              <a:gd name="connsiteY48" fmla="*/ 0 h 10000"/>
              <a:gd name="connsiteX49" fmla="*/ 6493 w 10012"/>
              <a:gd name="connsiteY49" fmla="*/ 111 h 10000"/>
              <a:gd name="connsiteX50" fmla="*/ 6806 w 10012"/>
              <a:gd name="connsiteY50" fmla="*/ 42 h 10000"/>
              <a:gd name="connsiteX51" fmla="*/ 7003 w 10012"/>
              <a:gd name="connsiteY51" fmla="*/ 361 h 10000"/>
              <a:gd name="connsiteX52" fmla="*/ 7476 w 10012"/>
              <a:gd name="connsiteY52" fmla="*/ 6005 h 10000"/>
              <a:gd name="connsiteX53" fmla="*/ 8179 w 10012"/>
              <a:gd name="connsiteY53" fmla="*/ 6020 h 10000"/>
              <a:gd name="connsiteX54" fmla="*/ 8378 w 10012"/>
              <a:gd name="connsiteY54" fmla="*/ 4920 h 10000"/>
              <a:gd name="connsiteX55" fmla="*/ 8509 w 10012"/>
              <a:gd name="connsiteY55" fmla="*/ 5527 h 10000"/>
              <a:gd name="connsiteX56" fmla="*/ 8594 w 10012"/>
              <a:gd name="connsiteY56" fmla="*/ 4983 h 10000"/>
              <a:gd name="connsiteX57" fmla="*/ 8659 w 10012"/>
              <a:gd name="connsiteY57" fmla="*/ 7656 h 10000"/>
              <a:gd name="connsiteX58" fmla="*/ 8726 w 10012"/>
              <a:gd name="connsiteY58" fmla="*/ 6573 h 10000"/>
              <a:gd name="connsiteX59" fmla="*/ 8822 w 10012"/>
              <a:gd name="connsiteY59" fmla="*/ 7792 h 10000"/>
              <a:gd name="connsiteX60" fmla="*/ 8875 w 10012"/>
              <a:gd name="connsiteY60" fmla="*/ 7573 h 10000"/>
              <a:gd name="connsiteX61" fmla="*/ 8901 w 10012"/>
              <a:gd name="connsiteY61" fmla="*/ 7948 h 10000"/>
              <a:gd name="connsiteX62" fmla="*/ 8998 w 10012"/>
              <a:gd name="connsiteY62" fmla="*/ 7961 h 10000"/>
              <a:gd name="connsiteX63" fmla="*/ 9004 w 10012"/>
              <a:gd name="connsiteY63" fmla="*/ 7688 h 10000"/>
              <a:gd name="connsiteX64" fmla="*/ 9117 w 10012"/>
              <a:gd name="connsiteY64" fmla="*/ 7907 h 10000"/>
              <a:gd name="connsiteX65" fmla="*/ 9180 w 10012"/>
              <a:gd name="connsiteY65" fmla="*/ 7811 h 10000"/>
              <a:gd name="connsiteX66" fmla="*/ 9205 w 10012"/>
              <a:gd name="connsiteY66" fmla="*/ 7352 h 10000"/>
              <a:gd name="connsiteX67" fmla="*/ 9240 w 10012"/>
              <a:gd name="connsiteY67" fmla="*/ 7794 h 10000"/>
              <a:gd name="connsiteX68" fmla="*/ 9319 w 10012"/>
              <a:gd name="connsiteY68" fmla="*/ 7565 h 10000"/>
              <a:gd name="connsiteX69" fmla="*/ 9433 w 10012"/>
              <a:gd name="connsiteY69" fmla="*/ 7687 h 10000"/>
              <a:gd name="connsiteX70" fmla="*/ 9493 w 10012"/>
              <a:gd name="connsiteY70" fmla="*/ 7948 h 10000"/>
              <a:gd name="connsiteX71" fmla="*/ 9527 w 10012"/>
              <a:gd name="connsiteY71" fmla="*/ 7710 h 10000"/>
              <a:gd name="connsiteX72" fmla="*/ 9586 w 10012"/>
              <a:gd name="connsiteY72" fmla="*/ 7913 h 10000"/>
              <a:gd name="connsiteX73" fmla="*/ 9627 w 10012"/>
              <a:gd name="connsiteY73" fmla="*/ 7220 h 10000"/>
              <a:gd name="connsiteX74" fmla="*/ 9733 w 10012"/>
              <a:gd name="connsiteY74" fmla="*/ 7889 h 10000"/>
              <a:gd name="connsiteX75" fmla="*/ 9846 w 10012"/>
              <a:gd name="connsiteY75" fmla="*/ 7547 h 10000"/>
              <a:gd name="connsiteX76" fmla="*/ 9848 w 10012"/>
              <a:gd name="connsiteY76" fmla="*/ 7270 h 10000"/>
              <a:gd name="connsiteX77" fmla="*/ 9934 w 10012"/>
              <a:gd name="connsiteY77" fmla="*/ 7580 h 10000"/>
              <a:gd name="connsiteX78" fmla="*/ 10012 w 10012"/>
              <a:gd name="connsiteY78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365 w 10012"/>
              <a:gd name="connsiteY43" fmla="*/ 6693 h 10000"/>
              <a:gd name="connsiteX44" fmla="*/ 4577 w 10012"/>
              <a:gd name="connsiteY44" fmla="*/ 6680 h 10000"/>
              <a:gd name="connsiteX45" fmla="*/ 5263 w 10012"/>
              <a:gd name="connsiteY45" fmla="*/ 766 h 10000"/>
              <a:gd name="connsiteX46" fmla="*/ 5262 w 10012"/>
              <a:gd name="connsiteY46" fmla="*/ 745 h 10000"/>
              <a:gd name="connsiteX47" fmla="*/ 5778 w 10012"/>
              <a:gd name="connsiteY47" fmla="*/ 1286 h 10000"/>
              <a:gd name="connsiteX48" fmla="*/ 5946 w 10012"/>
              <a:gd name="connsiteY48" fmla="*/ 0 h 10000"/>
              <a:gd name="connsiteX49" fmla="*/ 6493 w 10012"/>
              <a:gd name="connsiteY49" fmla="*/ 111 h 10000"/>
              <a:gd name="connsiteX50" fmla="*/ 6806 w 10012"/>
              <a:gd name="connsiteY50" fmla="*/ 42 h 10000"/>
              <a:gd name="connsiteX51" fmla="*/ 7003 w 10012"/>
              <a:gd name="connsiteY51" fmla="*/ 361 h 10000"/>
              <a:gd name="connsiteX52" fmla="*/ 7476 w 10012"/>
              <a:gd name="connsiteY52" fmla="*/ 6005 h 10000"/>
              <a:gd name="connsiteX53" fmla="*/ 8179 w 10012"/>
              <a:gd name="connsiteY53" fmla="*/ 6020 h 10000"/>
              <a:gd name="connsiteX54" fmla="*/ 8378 w 10012"/>
              <a:gd name="connsiteY54" fmla="*/ 4920 h 10000"/>
              <a:gd name="connsiteX55" fmla="*/ 8509 w 10012"/>
              <a:gd name="connsiteY55" fmla="*/ 5527 h 10000"/>
              <a:gd name="connsiteX56" fmla="*/ 8594 w 10012"/>
              <a:gd name="connsiteY56" fmla="*/ 4983 h 10000"/>
              <a:gd name="connsiteX57" fmla="*/ 8659 w 10012"/>
              <a:gd name="connsiteY57" fmla="*/ 7656 h 10000"/>
              <a:gd name="connsiteX58" fmla="*/ 8726 w 10012"/>
              <a:gd name="connsiteY58" fmla="*/ 6573 h 10000"/>
              <a:gd name="connsiteX59" fmla="*/ 8822 w 10012"/>
              <a:gd name="connsiteY59" fmla="*/ 7792 h 10000"/>
              <a:gd name="connsiteX60" fmla="*/ 8875 w 10012"/>
              <a:gd name="connsiteY60" fmla="*/ 7573 h 10000"/>
              <a:gd name="connsiteX61" fmla="*/ 8901 w 10012"/>
              <a:gd name="connsiteY61" fmla="*/ 7948 h 10000"/>
              <a:gd name="connsiteX62" fmla="*/ 8998 w 10012"/>
              <a:gd name="connsiteY62" fmla="*/ 7961 h 10000"/>
              <a:gd name="connsiteX63" fmla="*/ 9004 w 10012"/>
              <a:gd name="connsiteY63" fmla="*/ 7688 h 10000"/>
              <a:gd name="connsiteX64" fmla="*/ 9117 w 10012"/>
              <a:gd name="connsiteY64" fmla="*/ 7907 h 10000"/>
              <a:gd name="connsiteX65" fmla="*/ 9180 w 10012"/>
              <a:gd name="connsiteY65" fmla="*/ 7811 h 10000"/>
              <a:gd name="connsiteX66" fmla="*/ 9205 w 10012"/>
              <a:gd name="connsiteY66" fmla="*/ 7352 h 10000"/>
              <a:gd name="connsiteX67" fmla="*/ 9240 w 10012"/>
              <a:gd name="connsiteY67" fmla="*/ 7794 h 10000"/>
              <a:gd name="connsiteX68" fmla="*/ 9319 w 10012"/>
              <a:gd name="connsiteY68" fmla="*/ 7565 h 10000"/>
              <a:gd name="connsiteX69" fmla="*/ 9433 w 10012"/>
              <a:gd name="connsiteY69" fmla="*/ 7687 h 10000"/>
              <a:gd name="connsiteX70" fmla="*/ 9493 w 10012"/>
              <a:gd name="connsiteY70" fmla="*/ 7948 h 10000"/>
              <a:gd name="connsiteX71" fmla="*/ 9527 w 10012"/>
              <a:gd name="connsiteY71" fmla="*/ 7710 h 10000"/>
              <a:gd name="connsiteX72" fmla="*/ 9586 w 10012"/>
              <a:gd name="connsiteY72" fmla="*/ 7913 h 10000"/>
              <a:gd name="connsiteX73" fmla="*/ 9627 w 10012"/>
              <a:gd name="connsiteY73" fmla="*/ 7220 h 10000"/>
              <a:gd name="connsiteX74" fmla="*/ 9733 w 10012"/>
              <a:gd name="connsiteY74" fmla="*/ 7889 h 10000"/>
              <a:gd name="connsiteX75" fmla="*/ 9846 w 10012"/>
              <a:gd name="connsiteY75" fmla="*/ 7547 h 10000"/>
              <a:gd name="connsiteX76" fmla="*/ 9848 w 10012"/>
              <a:gd name="connsiteY76" fmla="*/ 7270 h 10000"/>
              <a:gd name="connsiteX77" fmla="*/ 9934 w 10012"/>
              <a:gd name="connsiteY77" fmla="*/ 7580 h 10000"/>
              <a:gd name="connsiteX78" fmla="*/ 10012 w 10012"/>
              <a:gd name="connsiteY78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54 w 10012"/>
              <a:gd name="connsiteY42" fmla="*/ 1148 h 10000"/>
              <a:gd name="connsiteX43" fmla="*/ 4365 w 10012"/>
              <a:gd name="connsiteY43" fmla="*/ 6693 h 10000"/>
              <a:gd name="connsiteX44" fmla="*/ 4577 w 10012"/>
              <a:gd name="connsiteY44" fmla="*/ 6680 h 10000"/>
              <a:gd name="connsiteX45" fmla="*/ 5263 w 10012"/>
              <a:gd name="connsiteY45" fmla="*/ 766 h 10000"/>
              <a:gd name="connsiteX46" fmla="*/ 5262 w 10012"/>
              <a:gd name="connsiteY46" fmla="*/ 745 h 10000"/>
              <a:gd name="connsiteX47" fmla="*/ 5778 w 10012"/>
              <a:gd name="connsiteY47" fmla="*/ 1286 h 10000"/>
              <a:gd name="connsiteX48" fmla="*/ 5946 w 10012"/>
              <a:gd name="connsiteY48" fmla="*/ 0 h 10000"/>
              <a:gd name="connsiteX49" fmla="*/ 6493 w 10012"/>
              <a:gd name="connsiteY49" fmla="*/ 111 h 10000"/>
              <a:gd name="connsiteX50" fmla="*/ 6806 w 10012"/>
              <a:gd name="connsiteY50" fmla="*/ 42 h 10000"/>
              <a:gd name="connsiteX51" fmla="*/ 7003 w 10012"/>
              <a:gd name="connsiteY51" fmla="*/ 361 h 10000"/>
              <a:gd name="connsiteX52" fmla="*/ 7476 w 10012"/>
              <a:gd name="connsiteY52" fmla="*/ 6005 h 10000"/>
              <a:gd name="connsiteX53" fmla="*/ 8179 w 10012"/>
              <a:gd name="connsiteY53" fmla="*/ 6020 h 10000"/>
              <a:gd name="connsiteX54" fmla="*/ 8378 w 10012"/>
              <a:gd name="connsiteY54" fmla="*/ 4920 h 10000"/>
              <a:gd name="connsiteX55" fmla="*/ 8509 w 10012"/>
              <a:gd name="connsiteY55" fmla="*/ 5527 h 10000"/>
              <a:gd name="connsiteX56" fmla="*/ 8594 w 10012"/>
              <a:gd name="connsiteY56" fmla="*/ 4983 h 10000"/>
              <a:gd name="connsiteX57" fmla="*/ 8659 w 10012"/>
              <a:gd name="connsiteY57" fmla="*/ 7656 h 10000"/>
              <a:gd name="connsiteX58" fmla="*/ 8726 w 10012"/>
              <a:gd name="connsiteY58" fmla="*/ 6573 h 10000"/>
              <a:gd name="connsiteX59" fmla="*/ 8822 w 10012"/>
              <a:gd name="connsiteY59" fmla="*/ 7792 h 10000"/>
              <a:gd name="connsiteX60" fmla="*/ 8875 w 10012"/>
              <a:gd name="connsiteY60" fmla="*/ 7573 h 10000"/>
              <a:gd name="connsiteX61" fmla="*/ 8901 w 10012"/>
              <a:gd name="connsiteY61" fmla="*/ 7948 h 10000"/>
              <a:gd name="connsiteX62" fmla="*/ 8998 w 10012"/>
              <a:gd name="connsiteY62" fmla="*/ 7961 h 10000"/>
              <a:gd name="connsiteX63" fmla="*/ 9004 w 10012"/>
              <a:gd name="connsiteY63" fmla="*/ 7688 h 10000"/>
              <a:gd name="connsiteX64" fmla="*/ 9117 w 10012"/>
              <a:gd name="connsiteY64" fmla="*/ 7907 h 10000"/>
              <a:gd name="connsiteX65" fmla="*/ 9180 w 10012"/>
              <a:gd name="connsiteY65" fmla="*/ 7811 h 10000"/>
              <a:gd name="connsiteX66" fmla="*/ 9205 w 10012"/>
              <a:gd name="connsiteY66" fmla="*/ 7352 h 10000"/>
              <a:gd name="connsiteX67" fmla="*/ 9240 w 10012"/>
              <a:gd name="connsiteY67" fmla="*/ 7794 h 10000"/>
              <a:gd name="connsiteX68" fmla="*/ 9319 w 10012"/>
              <a:gd name="connsiteY68" fmla="*/ 7565 h 10000"/>
              <a:gd name="connsiteX69" fmla="*/ 9433 w 10012"/>
              <a:gd name="connsiteY69" fmla="*/ 7687 h 10000"/>
              <a:gd name="connsiteX70" fmla="*/ 9493 w 10012"/>
              <a:gd name="connsiteY70" fmla="*/ 7948 h 10000"/>
              <a:gd name="connsiteX71" fmla="*/ 9527 w 10012"/>
              <a:gd name="connsiteY71" fmla="*/ 7710 h 10000"/>
              <a:gd name="connsiteX72" fmla="*/ 9586 w 10012"/>
              <a:gd name="connsiteY72" fmla="*/ 7913 h 10000"/>
              <a:gd name="connsiteX73" fmla="*/ 9627 w 10012"/>
              <a:gd name="connsiteY73" fmla="*/ 7220 h 10000"/>
              <a:gd name="connsiteX74" fmla="*/ 9733 w 10012"/>
              <a:gd name="connsiteY74" fmla="*/ 7889 h 10000"/>
              <a:gd name="connsiteX75" fmla="*/ 9846 w 10012"/>
              <a:gd name="connsiteY75" fmla="*/ 7547 h 10000"/>
              <a:gd name="connsiteX76" fmla="*/ 9848 w 10012"/>
              <a:gd name="connsiteY76" fmla="*/ 7270 h 10000"/>
              <a:gd name="connsiteX77" fmla="*/ 9934 w 10012"/>
              <a:gd name="connsiteY77" fmla="*/ 7580 h 10000"/>
              <a:gd name="connsiteX78" fmla="*/ 10012 w 10012"/>
              <a:gd name="connsiteY78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702 w 10012"/>
              <a:gd name="connsiteY3" fmla="*/ 1612 h 10000"/>
              <a:gd name="connsiteX4" fmla="*/ 746 w 10012"/>
              <a:gd name="connsiteY4" fmla="*/ 2515 h 10000"/>
              <a:gd name="connsiteX5" fmla="*/ 840 w 10012"/>
              <a:gd name="connsiteY5" fmla="*/ 1570 h 10000"/>
              <a:gd name="connsiteX6" fmla="*/ 948 w 10012"/>
              <a:gd name="connsiteY6" fmla="*/ 2515 h 10000"/>
              <a:gd name="connsiteX7" fmla="*/ 1007 w 10012"/>
              <a:gd name="connsiteY7" fmla="*/ 1570 h 10000"/>
              <a:gd name="connsiteX8" fmla="*/ 1062 w 10012"/>
              <a:gd name="connsiteY8" fmla="*/ 1839 h 10000"/>
              <a:gd name="connsiteX9" fmla="*/ 1103 w 10012"/>
              <a:gd name="connsiteY9" fmla="*/ 1480 h 10000"/>
              <a:gd name="connsiteX10" fmla="*/ 1152 w 10012"/>
              <a:gd name="connsiteY10" fmla="*/ 2564 h 10000"/>
              <a:gd name="connsiteX11" fmla="*/ 1228 w 10012"/>
              <a:gd name="connsiteY11" fmla="*/ 1301 h 10000"/>
              <a:gd name="connsiteX12" fmla="*/ 1232 w 10012"/>
              <a:gd name="connsiteY12" fmla="*/ 2308 h 10000"/>
              <a:gd name="connsiteX13" fmla="*/ 1294 w 10012"/>
              <a:gd name="connsiteY13" fmla="*/ 2661 h 10000"/>
              <a:gd name="connsiteX14" fmla="*/ 1342 w 10012"/>
              <a:gd name="connsiteY14" fmla="*/ 2446 h 10000"/>
              <a:gd name="connsiteX15" fmla="*/ 1367 w 10012"/>
              <a:gd name="connsiteY15" fmla="*/ 1750 h 10000"/>
              <a:gd name="connsiteX16" fmla="*/ 1460 w 10012"/>
              <a:gd name="connsiteY16" fmla="*/ 2661 h 10000"/>
              <a:gd name="connsiteX17" fmla="*/ 1537 w 10012"/>
              <a:gd name="connsiteY17" fmla="*/ 2291 h 10000"/>
              <a:gd name="connsiteX18" fmla="*/ 1575 w 10012"/>
              <a:gd name="connsiteY18" fmla="*/ 1121 h 10000"/>
              <a:gd name="connsiteX19" fmla="*/ 1601 w 10012"/>
              <a:gd name="connsiteY19" fmla="*/ 2426 h 10000"/>
              <a:gd name="connsiteX20" fmla="*/ 1629 w 10012"/>
              <a:gd name="connsiteY20" fmla="*/ 2109 h 10000"/>
              <a:gd name="connsiteX21" fmla="*/ 1640 w 10012"/>
              <a:gd name="connsiteY21" fmla="*/ 2333 h 10000"/>
              <a:gd name="connsiteX22" fmla="*/ 1699 w 10012"/>
              <a:gd name="connsiteY22" fmla="*/ 1792 h 10000"/>
              <a:gd name="connsiteX23" fmla="*/ 1796 w 10012"/>
              <a:gd name="connsiteY23" fmla="*/ 2373 h 10000"/>
              <a:gd name="connsiteX24" fmla="*/ 1791 w 10012"/>
              <a:gd name="connsiteY24" fmla="*/ 2920 h 10000"/>
              <a:gd name="connsiteX25" fmla="*/ 1854 w 10012"/>
              <a:gd name="connsiteY25" fmla="*/ 3268 h 10000"/>
              <a:gd name="connsiteX26" fmla="*/ 1892 w 10012"/>
              <a:gd name="connsiteY26" fmla="*/ 2690 h 10000"/>
              <a:gd name="connsiteX27" fmla="*/ 1940 w 10012"/>
              <a:gd name="connsiteY27" fmla="*/ 3319 h 10000"/>
              <a:gd name="connsiteX28" fmla="*/ 2031 w 10012"/>
              <a:gd name="connsiteY28" fmla="*/ 1480 h 10000"/>
              <a:gd name="connsiteX29" fmla="*/ 2097 w 10012"/>
              <a:gd name="connsiteY29" fmla="*/ 3547 h 10000"/>
              <a:gd name="connsiteX30" fmla="*/ 2224 w 10012"/>
              <a:gd name="connsiteY30" fmla="*/ 2510 h 10000"/>
              <a:gd name="connsiteX31" fmla="*/ 2237 w 10012"/>
              <a:gd name="connsiteY31" fmla="*/ 1972 h 10000"/>
              <a:gd name="connsiteX32" fmla="*/ 2316 w 10012"/>
              <a:gd name="connsiteY32" fmla="*/ 2750 h 10000"/>
              <a:gd name="connsiteX33" fmla="*/ 2376 w 10012"/>
              <a:gd name="connsiteY33" fmla="*/ 2241 h 10000"/>
              <a:gd name="connsiteX34" fmla="*/ 2431 w 10012"/>
              <a:gd name="connsiteY34" fmla="*/ 2151 h 10000"/>
              <a:gd name="connsiteX35" fmla="*/ 2529 w 10012"/>
              <a:gd name="connsiteY35" fmla="*/ 1570 h 10000"/>
              <a:gd name="connsiteX36" fmla="*/ 2686 w 10012"/>
              <a:gd name="connsiteY36" fmla="*/ 1495 h 10000"/>
              <a:gd name="connsiteX37" fmla="*/ 3124 w 10012"/>
              <a:gd name="connsiteY37" fmla="*/ 1791 h 10000"/>
              <a:gd name="connsiteX38" fmla="*/ 3227 w 10012"/>
              <a:gd name="connsiteY38" fmla="*/ 2820 h 10000"/>
              <a:gd name="connsiteX39" fmla="*/ 3590 w 10012"/>
              <a:gd name="connsiteY39" fmla="*/ 2500 h 10000"/>
              <a:gd name="connsiteX40" fmla="*/ 3685 w 10012"/>
              <a:gd name="connsiteY40" fmla="*/ 1432 h 10000"/>
              <a:gd name="connsiteX41" fmla="*/ 3754 w 10012"/>
              <a:gd name="connsiteY41" fmla="*/ 1148 h 10000"/>
              <a:gd name="connsiteX42" fmla="*/ 4365 w 10012"/>
              <a:gd name="connsiteY42" fmla="*/ 6693 h 10000"/>
              <a:gd name="connsiteX43" fmla="*/ 4577 w 10012"/>
              <a:gd name="connsiteY43" fmla="*/ 6680 h 10000"/>
              <a:gd name="connsiteX44" fmla="*/ 5263 w 10012"/>
              <a:gd name="connsiteY44" fmla="*/ 766 h 10000"/>
              <a:gd name="connsiteX45" fmla="*/ 5262 w 10012"/>
              <a:gd name="connsiteY45" fmla="*/ 745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702 w 10012"/>
              <a:gd name="connsiteY2" fmla="*/ 1612 h 10000"/>
              <a:gd name="connsiteX3" fmla="*/ 746 w 10012"/>
              <a:gd name="connsiteY3" fmla="*/ 2515 h 10000"/>
              <a:gd name="connsiteX4" fmla="*/ 840 w 10012"/>
              <a:gd name="connsiteY4" fmla="*/ 1570 h 10000"/>
              <a:gd name="connsiteX5" fmla="*/ 948 w 10012"/>
              <a:gd name="connsiteY5" fmla="*/ 2515 h 10000"/>
              <a:gd name="connsiteX6" fmla="*/ 1007 w 10012"/>
              <a:gd name="connsiteY6" fmla="*/ 1570 h 10000"/>
              <a:gd name="connsiteX7" fmla="*/ 1062 w 10012"/>
              <a:gd name="connsiteY7" fmla="*/ 1839 h 10000"/>
              <a:gd name="connsiteX8" fmla="*/ 1103 w 10012"/>
              <a:gd name="connsiteY8" fmla="*/ 1480 h 10000"/>
              <a:gd name="connsiteX9" fmla="*/ 1152 w 10012"/>
              <a:gd name="connsiteY9" fmla="*/ 2564 h 10000"/>
              <a:gd name="connsiteX10" fmla="*/ 1228 w 10012"/>
              <a:gd name="connsiteY10" fmla="*/ 1301 h 10000"/>
              <a:gd name="connsiteX11" fmla="*/ 1232 w 10012"/>
              <a:gd name="connsiteY11" fmla="*/ 2308 h 10000"/>
              <a:gd name="connsiteX12" fmla="*/ 1294 w 10012"/>
              <a:gd name="connsiteY12" fmla="*/ 2661 h 10000"/>
              <a:gd name="connsiteX13" fmla="*/ 1342 w 10012"/>
              <a:gd name="connsiteY13" fmla="*/ 2446 h 10000"/>
              <a:gd name="connsiteX14" fmla="*/ 1367 w 10012"/>
              <a:gd name="connsiteY14" fmla="*/ 1750 h 10000"/>
              <a:gd name="connsiteX15" fmla="*/ 1460 w 10012"/>
              <a:gd name="connsiteY15" fmla="*/ 2661 h 10000"/>
              <a:gd name="connsiteX16" fmla="*/ 1537 w 10012"/>
              <a:gd name="connsiteY16" fmla="*/ 2291 h 10000"/>
              <a:gd name="connsiteX17" fmla="*/ 1575 w 10012"/>
              <a:gd name="connsiteY17" fmla="*/ 1121 h 10000"/>
              <a:gd name="connsiteX18" fmla="*/ 1601 w 10012"/>
              <a:gd name="connsiteY18" fmla="*/ 2426 h 10000"/>
              <a:gd name="connsiteX19" fmla="*/ 1629 w 10012"/>
              <a:gd name="connsiteY19" fmla="*/ 2109 h 10000"/>
              <a:gd name="connsiteX20" fmla="*/ 1640 w 10012"/>
              <a:gd name="connsiteY20" fmla="*/ 2333 h 10000"/>
              <a:gd name="connsiteX21" fmla="*/ 1699 w 10012"/>
              <a:gd name="connsiteY21" fmla="*/ 1792 h 10000"/>
              <a:gd name="connsiteX22" fmla="*/ 1796 w 10012"/>
              <a:gd name="connsiteY22" fmla="*/ 2373 h 10000"/>
              <a:gd name="connsiteX23" fmla="*/ 1791 w 10012"/>
              <a:gd name="connsiteY23" fmla="*/ 2920 h 10000"/>
              <a:gd name="connsiteX24" fmla="*/ 1854 w 10012"/>
              <a:gd name="connsiteY24" fmla="*/ 3268 h 10000"/>
              <a:gd name="connsiteX25" fmla="*/ 1892 w 10012"/>
              <a:gd name="connsiteY25" fmla="*/ 2690 h 10000"/>
              <a:gd name="connsiteX26" fmla="*/ 1940 w 10012"/>
              <a:gd name="connsiteY26" fmla="*/ 3319 h 10000"/>
              <a:gd name="connsiteX27" fmla="*/ 2031 w 10012"/>
              <a:gd name="connsiteY27" fmla="*/ 1480 h 10000"/>
              <a:gd name="connsiteX28" fmla="*/ 2097 w 10012"/>
              <a:gd name="connsiteY28" fmla="*/ 3547 h 10000"/>
              <a:gd name="connsiteX29" fmla="*/ 2224 w 10012"/>
              <a:gd name="connsiteY29" fmla="*/ 2510 h 10000"/>
              <a:gd name="connsiteX30" fmla="*/ 2237 w 10012"/>
              <a:gd name="connsiteY30" fmla="*/ 1972 h 10000"/>
              <a:gd name="connsiteX31" fmla="*/ 2316 w 10012"/>
              <a:gd name="connsiteY31" fmla="*/ 2750 h 10000"/>
              <a:gd name="connsiteX32" fmla="*/ 2376 w 10012"/>
              <a:gd name="connsiteY32" fmla="*/ 2241 h 10000"/>
              <a:gd name="connsiteX33" fmla="*/ 2431 w 10012"/>
              <a:gd name="connsiteY33" fmla="*/ 2151 h 10000"/>
              <a:gd name="connsiteX34" fmla="*/ 2529 w 10012"/>
              <a:gd name="connsiteY34" fmla="*/ 1570 h 10000"/>
              <a:gd name="connsiteX35" fmla="*/ 2686 w 10012"/>
              <a:gd name="connsiteY35" fmla="*/ 1495 h 10000"/>
              <a:gd name="connsiteX36" fmla="*/ 3124 w 10012"/>
              <a:gd name="connsiteY36" fmla="*/ 1791 h 10000"/>
              <a:gd name="connsiteX37" fmla="*/ 3227 w 10012"/>
              <a:gd name="connsiteY37" fmla="*/ 2820 h 10000"/>
              <a:gd name="connsiteX38" fmla="*/ 3590 w 10012"/>
              <a:gd name="connsiteY38" fmla="*/ 2500 h 10000"/>
              <a:gd name="connsiteX39" fmla="*/ 3685 w 10012"/>
              <a:gd name="connsiteY39" fmla="*/ 1432 h 10000"/>
              <a:gd name="connsiteX40" fmla="*/ 3754 w 10012"/>
              <a:gd name="connsiteY40" fmla="*/ 1148 h 10000"/>
              <a:gd name="connsiteX41" fmla="*/ 4365 w 10012"/>
              <a:gd name="connsiteY41" fmla="*/ 6693 h 10000"/>
              <a:gd name="connsiteX42" fmla="*/ 4577 w 10012"/>
              <a:gd name="connsiteY42" fmla="*/ 6680 h 10000"/>
              <a:gd name="connsiteX43" fmla="*/ 5263 w 10012"/>
              <a:gd name="connsiteY43" fmla="*/ 766 h 10000"/>
              <a:gd name="connsiteX44" fmla="*/ 5262 w 10012"/>
              <a:gd name="connsiteY44" fmla="*/ 745 h 10000"/>
              <a:gd name="connsiteX45" fmla="*/ 5778 w 10012"/>
              <a:gd name="connsiteY45" fmla="*/ 1286 h 10000"/>
              <a:gd name="connsiteX46" fmla="*/ 5946 w 10012"/>
              <a:gd name="connsiteY46" fmla="*/ 0 h 10000"/>
              <a:gd name="connsiteX47" fmla="*/ 6493 w 10012"/>
              <a:gd name="connsiteY47" fmla="*/ 111 h 10000"/>
              <a:gd name="connsiteX48" fmla="*/ 6806 w 10012"/>
              <a:gd name="connsiteY48" fmla="*/ 42 h 10000"/>
              <a:gd name="connsiteX49" fmla="*/ 7003 w 10012"/>
              <a:gd name="connsiteY49" fmla="*/ 361 h 10000"/>
              <a:gd name="connsiteX50" fmla="*/ 7476 w 10012"/>
              <a:gd name="connsiteY50" fmla="*/ 6005 h 10000"/>
              <a:gd name="connsiteX51" fmla="*/ 8179 w 10012"/>
              <a:gd name="connsiteY51" fmla="*/ 6020 h 10000"/>
              <a:gd name="connsiteX52" fmla="*/ 8378 w 10012"/>
              <a:gd name="connsiteY52" fmla="*/ 4920 h 10000"/>
              <a:gd name="connsiteX53" fmla="*/ 8509 w 10012"/>
              <a:gd name="connsiteY53" fmla="*/ 5527 h 10000"/>
              <a:gd name="connsiteX54" fmla="*/ 8594 w 10012"/>
              <a:gd name="connsiteY54" fmla="*/ 4983 h 10000"/>
              <a:gd name="connsiteX55" fmla="*/ 8659 w 10012"/>
              <a:gd name="connsiteY55" fmla="*/ 7656 h 10000"/>
              <a:gd name="connsiteX56" fmla="*/ 8726 w 10012"/>
              <a:gd name="connsiteY56" fmla="*/ 6573 h 10000"/>
              <a:gd name="connsiteX57" fmla="*/ 8822 w 10012"/>
              <a:gd name="connsiteY57" fmla="*/ 7792 h 10000"/>
              <a:gd name="connsiteX58" fmla="*/ 8875 w 10012"/>
              <a:gd name="connsiteY58" fmla="*/ 7573 h 10000"/>
              <a:gd name="connsiteX59" fmla="*/ 8901 w 10012"/>
              <a:gd name="connsiteY59" fmla="*/ 7948 h 10000"/>
              <a:gd name="connsiteX60" fmla="*/ 8998 w 10012"/>
              <a:gd name="connsiteY60" fmla="*/ 7961 h 10000"/>
              <a:gd name="connsiteX61" fmla="*/ 9004 w 10012"/>
              <a:gd name="connsiteY61" fmla="*/ 7688 h 10000"/>
              <a:gd name="connsiteX62" fmla="*/ 9117 w 10012"/>
              <a:gd name="connsiteY62" fmla="*/ 7907 h 10000"/>
              <a:gd name="connsiteX63" fmla="*/ 9180 w 10012"/>
              <a:gd name="connsiteY63" fmla="*/ 7811 h 10000"/>
              <a:gd name="connsiteX64" fmla="*/ 9205 w 10012"/>
              <a:gd name="connsiteY64" fmla="*/ 7352 h 10000"/>
              <a:gd name="connsiteX65" fmla="*/ 9240 w 10012"/>
              <a:gd name="connsiteY65" fmla="*/ 7794 h 10000"/>
              <a:gd name="connsiteX66" fmla="*/ 9319 w 10012"/>
              <a:gd name="connsiteY66" fmla="*/ 7565 h 10000"/>
              <a:gd name="connsiteX67" fmla="*/ 9433 w 10012"/>
              <a:gd name="connsiteY67" fmla="*/ 7687 h 10000"/>
              <a:gd name="connsiteX68" fmla="*/ 9493 w 10012"/>
              <a:gd name="connsiteY68" fmla="*/ 7948 h 10000"/>
              <a:gd name="connsiteX69" fmla="*/ 9527 w 10012"/>
              <a:gd name="connsiteY69" fmla="*/ 7710 h 10000"/>
              <a:gd name="connsiteX70" fmla="*/ 9586 w 10012"/>
              <a:gd name="connsiteY70" fmla="*/ 7913 h 10000"/>
              <a:gd name="connsiteX71" fmla="*/ 9627 w 10012"/>
              <a:gd name="connsiteY71" fmla="*/ 7220 h 10000"/>
              <a:gd name="connsiteX72" fmla="*/ 9733 w 10012"/>
              <a:gd name="connsiteY72" fmla="*/ 7889 h 10000"/>
              <a:gd name="connsiteX73" fmla="*/ 9846 w 10012"/>
              <a:gd name="connsiteY73" fmla="*/ 7547 h 10000"/>
              <a:gd name="connsiteX74" fmla="*/ 9848 w 10012"/>
              <a:gd name="connsiteY74" fmla="*/ 7270 h 10000"/>
              <a:gd name="connsiteX75" fmla="*/ 9934 w 10012"/>
              <a:gd name="connsiteY75" fmla="*/ 7580 h 10000"/>
              <a:gd name="connsiteX76" fmla="*/ 10012 w 10012"/>
              <a:gd name="connsiteY76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746 w 10012"/>
              <a:gd name="connsiteY2" fmla="*/ 2515 h 10000"/>
              <a:gd name="connsiteX3" fmla="*/ 840 w 10012"/>
              <a:gd name="connsiteY3" fmla="*/ 1570 h 10000"/>
              <a:gd name="connsiteX4" fmla="*/ 948 w 10012"/>
              <a:gd name="connsiteY4" fmla="*/ 2515 h 10000"/>
              <a:gd name="connsiteX5" fmla="*/ 1007 w 10012"/>
              <a:gd name="connsiteY5" fmla="*/ 1570 h 10000"/>
              <a:gd name="connsiteX6" fmla="*/ 1062 w 10012"/>
              <a:gd name="connsiteY6" fmla="*/ 1839 h 10000"/>
              <a:gd name="connsiteX7" fmla="*/ 1103 w 10012"/>
              <a:gd name="connsiteY7" fmla="*/ 1480 h 10000"/>
              <a:gd name="connsiteX8" fmla="*/ 1152 w 10012"/>
              <a:gd name="connsiteY8" fmla="*/ 2564 h 10000"/>
              <a:gd name="connsiteX9" fmla="*/ 1228 w 10012"/>
              <a:gd name="connsiteY9" fmla="*/ 1301 h 10000"/>
              <a:gd name="connsiteX10" fmla="*/ 1232 w 10012"/>
              <a:gd name="connsiteY10" fmla="*/ 2308 h 10000"/>
              <a:gd name="connsiteX11" fmla="*/ 1294 w 10012"/>
              <a:gd name="connsiteY11" fmla="*/ 2661 h 10000"/>
              <a:gd name="connsiteX12" fmla="*/ 1342 w 10012"/>
              <a:gd name="connsiteY12" fmla="*/ 2446 h 10000"/>
              <a:gd name="connsiteX13" fmla="*/ 1367 w 10012"/>
              <a:gd name="connsiteY13" fmla="*/ 1750 h 10000"/>
              <a:gd name="connsiteX14" fmla="*/ 1460 w 10012"/>
              <a:gd name="connsiteY14" fmla="*/ 2661 h 10000"/>
              <a:gd name="connsiteX15" fmla="*/ 1537 w 10012"/>
              <a:gd name="connsiteY15" fmla="*/ 2291 h 10000"/>
              <a:gd name="connsiteX16" fmla="*/ 1575 w 10012"/>
              <a:gd name="connsiteY16" fmla="*/ 1121 h 10000"/>
              <a:gd name="connsiteX17" fmla="*/ 1601 w 10012"/>
              <a:gd name="connsiteY17" fmla="*/ 2426 h 10000"/>
              <a:gd name="connsiteX18" fmla="*/ 1629 w 10012"/>
              <a:gd name="connsiteY18" fmla="*/ 2109 h 10000"/>
              <a:gd name="connsiteX19" fmla="*/ 1640 w 10012"/>
              <a:gd name="connsiteY19" fmla="*/ 2333 h 10000"/>
              <a:gd name="connsiteX20" fmla="*/ 1699 w 10012"/>
              <a:gd name="connsiteY20" fmla="*/ 1792 h 10000"/>
              <a:gd name="connsiteX21" fmla="*/ 1796 w 10012"/>
              <a:gd name="connsiteY21" fmla="*/ 2373 h 10000"/>
              <a:gd name="connsiteX22" fmla="*/ 1791 w 10012"/>
              <a:gd name="connsiteY22" fmla="*/ 2920 h 10000"/>
              <a:gd name="connsiteX23" fmla="*/ 1854 w 10012"/>
              <a:gd name="connsiteY23" fmla="*/ 3268 h 10000"/>
              <a:gd name="connsiteX24" fmla="*/ 1892 w 10012"/>
              <a:gd name="connsiteY24" fmla="*/ 2690 h 10000"/>
              <a:gd name="connsiteX25" fmla="*/ 1940 w 10012"/>
              <a:gd name="connsiteY25" fmla="*/ 3319 h 10000"/>
              <a:gd name="connsiteX26" fmla="*/ 2031 w 10012"/>
              <a:gd name="connsiteY26" fmla="*/ 1480 h 10000"/>
              <a:gd name="connsiteX27" fmla="*/ 2097 w 10012"/>
              <a:gd name="connsiteY27" fmla="*/ 3547 h 10000"/>
              <a:gd name="connsiteX28" fmla="*/ 2224 w 10012"/>
              <a:gd name="connsiteY28" fmla="*/ 2510 h 10000"/>
              <a:gd name="connsiteX29" fmla="*/ 2237 w 10012"/>
              <a:gd name="connsiteY29" fmla="*/ 1972 h 10000"/>
              <a:gd name="connsiteX30" fmla="*/ 2316 w 10012"/>
              <a:gd name="connsiteY30" fmla="*/ 2750 h 10000"/>
              <a:gd name="connsiteX31" fmla="*/ 2376 w 10012"/>
              <a:gd name="connsiteY31" fmla="*/ 2241 h 10000"/>
              <a:gd name="connsiteX32" fmla="*/ 2431 w 10012"/>
              <a:gd name="connsiteY32" fmla="*/ 2151 h 10000"/>
              <a:gd name="connsiteX33" fmla="*/ 2529 w 10012"/>
              <a:gd name="connsiteY33" fmla="*/ 1570 h 10000"/>
              <a:gd name="connsiteX34" fmla="*/ 2686 w 10012"/>
              <a:gd name="connsiteY34" fmla="*/ 1495 h 10000"/>
              <a:gd name="connsiteX35" fmla="*/ 3124 w 10012"/>
              <a:gd name="connsiteY35" fmla="*/ 1791 h 10000"/>
              <a:gd name="connsiteX36" fmla="*/ 3227 w 10012"/>
              <a:gd name="connsiteY36" fmla="*/ 2820 h 10000"/>
              <a:gd name="connsiteX37" fmla="*/ 3590 w 10012"/>
              <a:gd name="connsiteY37" fmla="*/ 2500 h 10000"/>
              <a:gd name="connsiteX38" fmla="*/ 3685 w 10012"/>
              <a:gd name="connsiteY38" fmla="*/ 1432 h 10000"/>
              <a:gd name="connsiteX39" fmla="*/ 3754 w 10012"/>
              <a:gd name="connsiteY39" fmla="*/ 1148 h 10000"/>
              <a:gd name="connsiteX40" fmla="*/ 4365 w 10012"/>
              <a:gd name="connsiteY40" fmla="*/ 6693 h 10000"/>
              <a:gd name="connsiteX41" fmla="*/ 4577 w 10012"/>
              <a:gd name="connsiteY41" fmla="*/ 6680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365 w 10012"/>
              <a:gd name="connsiteY39" fmla="*/ 6693 h 10000"/>
              <a:gd name="connsiteX40" fmla="*/ 4577 w 10012"/>
              <a:gd name="connsiteY40" fmla="*/ 6680 h 10000"/>
              <a:gd name="connsiteX41" fmla="*/ 5263 w 10012"/>
              <a:gd name="connsiteY41" fmla="*/ 766 h 10000"/>
              <a:gd name="connsiteX42" fmla="*/ 5262 w 10012"/>
              <a:gd name="connsiteY42" fmla="*/ 745 h 10000"/>
              <a:gd name="connsiteX43" fmla="*/ 5778 w 10012"/>
              <a:gd name="connsiteY43" fmla="*/ 1286 h 10000"/>
              <a:gd name="connsiteX44" fmla="*/ 5946 w 10012"/>
              <a:gd name="connsiteY44" fmla="*/ 0 h 10000"/>
              <a:gd name="connsiteX45" fmla="*/ 6493 w 10012"/>
              <a:gd name="connsiteY45" fmla="*/ 111 h 10000"/>
              <a:gd name="connsiteX46" fmla="*/ 6806 w 10012"/>
              <a:gd name="connsiteY46" fmla="*/ 42 h 10000"/>
              <a:gd name="connsiteX47" fmla="*/ 7003 w 10012"/>
              <a:gd name="connsiteY47" fmla="*/ 361 h 10000"/>
              <a:gd name="connsiteX48" fmla="*/ 7476 w 10012"/>
              <a:gd name="connsiteY48" fmla="*/ 6005 h 10000"/>
              <a:gd name="connsiteX49" fmla="*/ 8179 w 10012"/>
              <a:gd name="connsiteY49" fmla="*/ 6020 h 10000"/>
              <a:gd name="connsiteX50" fmla="*/ 8378 w 10012"/>
              <a:gd name="connsiteY50" fmla="*/ 4920 h 10000"/>
              <a:gd name="connsiteX51" fmla="*/ 8509 w 10012"/>
              <a:gd name="connsiteY51" fmla="*/ 5527 h 10000"/>
              <a:gd name="connsiteX52" fmla="*/ 8594 w 10012"/>
              <a:gd name="connsiteY52" fmla="*/ 4983 h 10000"/>
              <a:gd name="connsiteX53" fmla="*/ 8659 w 10012"/>
              <a:gd name="connsiteY53" fmla="*/ 7656 h 10000"/>
              <a:gd name="connsiteX54" fmla="*/ 8726 w 10012"/>
              <a:gd name="connsiteY54" fmla="*/ 6573 h 10000"/>
              <a:gd name="connsiteX55" fmla="*/ 8822 w 10012"/>
              <a:gd name="connsiteY55" fmla="*/ 7792 h 10000"/>
              <a:gd name="connsiteX56" fmla="*/ 8875 w 10012"/>
              <a:gd name="connsiteY56" fmla="*/ 7573 h 10000"/>
              <a:gd name="connsiteX57" fmla="*/ 8901 w 10012"/>
              <a:gd name="connsiteY57" fmla="*/ 7948 h 10000"/>
              <a:gd name="connsiteX58" fmla="*/ 8998 w 10012"/>
              <a:gd name="connsiteY58" fmla="*/ 7961 h 10000"/>
              <a:gd name="connsiteX59" fmla="*/ 9004 w 10012"/>
              <a:gd name="connsiteY59" fmla="*/ 7688 h 10000"/>
              <a:gd name="connsiteX60" fmla="*/ 9117 w 10012"/>
              <a:gd name="connsiteY60" fmla="*/ 7907 h 10000"/>
              <a:gd name="connsiteX61" fmla="*/ 9180 w 10012"/>
              <a:gd name="connsiteY61" fmla="*/ 7811 h 10000"/>
              <a:gd name="connsiteX62" fmla="*/ 9205 w 10012"/>
              <a:gd name="connsiteY62" fmla="*/ 7352 h 10000"/>
              <a:gd name="connsiteX63" fmla="*/ 9240 w 10012"/>
              <a:gd name="connsiteY63" fmla="*/ 7794 h 10000"/>
              <a:gd name="connsiteX64" fmla="*/ 9319 w 10012"/>
              <a:gd name="connsiteY64" fmla="*/ 7565 h 10000"/>
              <a:gd name="connsiteX65" fmla="*/ 9433 w 10012"/>
              <a:gd name="connsiteY65" fmla="*/ 7687 h 10000"/>
              <a:gd name="connsiteX66" fmla="*/ 9493 w 10012"/>
              <a:gd name="connsiteY66" fmla="*/ 7948 h 10000"/>
              <a:gd name="connsiteX67" fmla="*/ 9527 w 10012"/>
              <a:gd name="connsiteY67" fmla="*/ 7710 h 10000"/>
              <a:gd name="connsiteX68" fmla="*/ 9586 w 10012"/>
              <a:gd name="connsiteY68" fmla="*/ 7913 h 10000"/>
              <a:gd name="connsiteX69" fmla="*/ 9627 w 10012"/>
              <a:gd name="connsiteY69" fmla="*/ 7220 h 10000"/>
              <a:gd name="connsiteX70" fmla="*/ 9733 w 10012"/>
              <a:gd name="connsiteY70" fmla="*/ 7889 h 10000"/>
              <a:gd name="connsiteX71" fmla="*/ 9846 w 10012"/>
              <a:gd name="connsiteY71" fmla="*/ 7547 h 10000"/>
              <a:gd name="connsiteX72" fmla="*/ 9848 w 10012"/>
              <a:gd name="connsiteY72" fmla="*/ 7270 h 10000"/>
              <a:gd name="connsiteX73" fmla="*/ 9934 w 10012"/>
              <a:gd name="connsiteY73" fmla="*/ 7580 h 10000"/>
              <a:gd name="connsiteX74" fmla="*/ 10012 w 10012"/>
              <a:gd name="connsiteY74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940 w 10012"/>
              <a:gd name="connsiteY23" fmla="*/ 3319 h 10000"/>
              <a:gd name="connsiteX24" fmla="*/ 2031 w 10012"/>
              <a:gd name="connsiteY24" fmla="*/ 1480 h 10000"/>
              <a:gd name="connsiteX25" fmla="*/ 2097 w 10012"/>
              <a:gd name="connsiteY25" fmla="*/ 3547 h 10000"/>
              <a:gd name="connsiteX26" fmla="*/ 2224 w 10012"/>
              <a:gd name="connsiteY26" fmla="*/ 2510 h 10000"/>
              <a:gd name="connsiteX27" fmla="*/ 2237 w 10012"/>
              <a:gd name="connsiteY27" fmla="*/ 1972 h 10000"/>
              <a:gd name="connsiteX28" fmla="*/ 2316 w 10012"/>
              <a:gd name="connsiteY28" fmla="*/ 2750 h 10000"/>
              <a:gd name="connsiteX29" fmla="*/ 2376 w 10012"/>
              <a:gd name="connsiteY29" fmla="*/ 2241 h 10000"/>
              <a:gd name="connsiteX30" fmla="*/ 2431 w 10012"/>
              <a:gd name="connsiteY30" fmla="*/ 2151 h 10000"/>
              <a:gd name="connsiteX31" fmla="*/ 2529 w 10012"/>
              <a:gd name="connsiteY31" fmla="*/ 1570 h 10000"/>
              <a:gd name="connsiteX32" fmla="*/ 2686 w 10012"/>
              <a:gd name="connsiteY32" fmla="*/ 1495 h 10000"/>
              <a:gd name="connsiteX33" fmla="*/ 3124 w 10012"/>
              <a:gd name="connsiteY33" fmla="*/ 1791 h 10000"/>
              <a:gd name="connsiteX34" fmla="*/ 3227 w 10012"/>
              <a:gd name="connsiteY34" fmla="*/ 2820 h 10000"/>
              <a:gd name="connsiteX35" fmla="*/ 3590 w 10012"/>
              <a:gd name="connsiteY35" fmla="*/ 2500 h 10000"/>
              <a:gd name="connsiteX36" fmla="*/ 3685 w 10012"/>
              <a:gd name="connsiteY36" fmla="*/ 1432 h 10000"/>
              <a:gd name="connsiteX37" fmla="*/ 3754 w 10012"/>
              <a:gd name="connsiteY37" fmla="*/ 1148 h 10000"/>
              <a:gd name="connsiteX38" fmla="*/ 4365 w 10012"/>
              <a:gd name="connsiteY38" fmla="*/ 6693 h 10000"/>
              <a:gd name="connsiteX39" fmla="*/ 4577 w 10012"/>
              <a:gd name="connsiteY39" fmla="*/ 6680 h 10000"/>
              <a:gd name="connsiteX40" fmla="*/ 5263 w 10012"/>
              <a:gd name="connsiteY40" fmla="*/ 766 h 10000"/>
              <a:gd name="connsiteX41" fmla="*/ 5262 w 10012"/>
              <a:gd name="connsiteY41" fmla="*/ 745 h 10000"/>
              <a:gd name="connsiteX42" fmla="*/ 5778 w 10012"/>
              <a:gd name="connsiteY42" fmla="*/ 1286 h 10000"/>
              <a:gd name="connsiteX43" fmla="*/ 5946 w 10012"/>
              <a:gd name="connsiteY43" fmla="*/ 0 h 10000"/>
              <a:gd name="connsiteX44" fmla="*/ 6493 w 10012"/>
              <a:gd name="connsiteY44" fmla="*/ 111 h 10000"/>
              <a:gd name="connsiteX45" fmla="*/ 6806 w 10012"/>
              <a:gd name="connsiteY45" fmla="*/ 42 h 10000"/>
              <a:gd name="connsiteX46" fmla="*/ 7003 w 10012"/>
              <a:gd name="connsiteY46" fmla="*/ 361 h 10000"/>
              <a:gd name="connsiteX47" fmla="*/ 7476 w 10012"/>
              <a:gd name="connsiteY47" fmla="*/ 6005 h 10000"/>
              <a:gd name="connsiteX48" fmla="*/ 8179 w 10012"/>
              <a:gd name="connsiteY48" fmla="*/ 6020 h 10000"/>
              <a:gd name="connsiteX49" fmla="*/ 8378 w 10012"/>
              <a:gd name="connsiteY49" fmla="*/ 4920 h 10000"/>
              <a:gd name="connsiteX50" fmla="*/ 8509 w 10012"/>
              <a:gd name="connsiteY50" fmla="*/ 5527 h 10000"/>
              <a:gd name="connsiteX51" fmla="*/ 8594 w 10012"/>
              <a:gd name="connsiteY51" fmla="*/ 4983 h 10000"/>
              <a:gd name="connsiteX52" fmla="*/ 8659 w 10012"/>
              <a:gd name="connsiteY52" fmla="*/ 7656 h 10000"/>
              <a:gd name="connsiteX53" fmla="*/ 8726 w 10012"/>
              <a:gd name="connsiteY53" fmla="*/ 6573 h 10000"/>
              <a:gd name="connsiteX54" fmla="*/ 8822 w 10012"/>
              <a:gd name="connsiteY54" fmla="*/ 7792 h 10000"/>
              <a:gd name="connsiteX55" fmla="*/ 8875 w 10012"/>
              <a:gd name="connsiteY55" fmla="*/ 7573 h 10000"/>
              <a:gd name="connsiteX56" fmla="*/ 8901 w 10012"/>
              <a:gd name="connsiteY56" fmla="*/ 7948 h 10000"/>
              <a:gd name="connsiteX57" fmla="*/ 8998 w 10012"/>
              <a:gd name="connsiteY57" fmla="*/ 7961 h 10000"/>
              <a:gd name="connsiteX58" fmla="*/ 9004 w 10012"/>
              <a:gd name="connsiteY58" fmla="*/ 7688 h 10000"/>
              <a:gd name="connsiteX59" fmla="*/ 9117 w 10012"/>
              <a:gd name="connsiteY59" fmla="*/ 7907 h 10000"/>
              <a:gd name="connsiteX60" fmla="*/ 9180 w 10012"/>
              <a:gd name="connsiteY60" fmla="*/ 7811 h 10000"/>
              <a:gd name="connsiteX61" fmla="*/ 9205 w 10012"/>
              <a:gd name="connsiteY61" fmla="*/ 7352 h 10000"/>
              <a:gd name="connsiteX62" fmla="*/ 9240 w 10012"/>
              <a:gd name="connsiteY62" fmla="*/ 7794 h 10000"/>
              <a:gd name="connsiteX63" fmla="*/ 9319 w 10012"/>
              <a:gd name="connsiteY63" fmla="*/ 7565 h 10000"/>
              <a:gd name="connsiteX64" fmla="*/ 9433 w 10012"/>
              <a:gd name="connsiteY64" fmla="*/ 7687 h 10000"/>
              <a:gd name="connsiteX65" fmla="*/ 9493 w 10012"/>
              <a:gd name="connsiteY65" fmla="*/ 7948 h 10000"/>
              <a:gd name="connsiteX66" fmla="*/ 9527 w 10012"/>
              <a:gd name="connsiteY66" fmla="*/ 7710 h 10000"/>
              <a:gd name="connsiteX67" fmla="*/ 9586 w 10012"/>
              <a:gd name="connsiteY67" fmla="*/ 7913 h 10000"/>
              <a:gd name="connsiteX68" fmla="*/ 9627 w 10012"/>
              <a:gd name="connsiteY68" fmla="*/ 7220 h 10000"/>
              <a:gd name="connsiteX69" fmla="*/ 9733 w 10012"/>
              <a:gd name="connsiteY69" fmla="*/ 7889 h 10000"/>
              <a:gd name="connsiteX70" fmla="*/ 9846 w 10012"/>
              <a:gd name="connsiteY70" fmla="*/ 7547 h 10000"/>
              <a:gd name="connsiteX71" fmla="*/ 9848 w 10012"/>
              <a:gd name="connsiteY71" fmla="*/ 7270 h 10000"/>
              <a:gd name="connsiteX72" fmla="*/ 9934 w 10012"/>
              <a:gd name="connsiteY72" fmla="*/ 7580 h 10000"/>
              <a:gd name="connsiteX73" fmla="*/ 10012 w 10012"/>
              <a:gd name="connsiteY73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940 w 10012"/>
              <a:gd name="connsiteY22" fmla="*/ 3319 h 10000"/>
              <a:gd name="connsiteX23" fmla="*/ 2031 w 10012"/>
              <a:gd name="connsiteY23" fmla="*/ 1480 h 10000"/>
              <a:gd name="connsiteX24" fmla="*/ 2097 w 10012"/>
              <a:gd name="connsiteY24" fmla="*/ 3547 h 10000"/>
              <a:gd name="connsiteX25" fmla="*/ 2224 w 10012"/>
              <a:gd name="connsiteY25" fmla="*/ 2510 h 10000"/>
              <a:gd name="connsiteX26" fmla="*/ 2237 w 10012"/>
              <a:gd name="connsiteY26" fmla="*/ 1972 h 10000"/>
              <a:gd name="connsiteX27" fmla="*/ 2316 w 10012"/>
              <a:gd name="connsiteY27" fmla="*/ 2750 h 10000"/>
              <a:gd name="connsiteX28" fmla="*/ 2376 w 10012"/>
              <a:gd name="connsiteY28" fmla="*/ 2241 h 10000"/>
              <a:gd name="connsiteX29" fmla="*/ 2431 w 10012"/>
              <a:gd name="connsiteY29" fmla="*/ 2151 h 10000"/>
              <a:gd name="connsiteX30" fmla="*/ 2529 w 10012"/>
              <a:gd name="connsiteY30" fmla="*/ 1570 h 10000"/>
              <a:gd name="connsiteX31" fmla="*/ 2686 w 10012"/>
              <a:gd name="connsiteY31" fmla="*/ 1495 h 10000"/>
              <a:gd name="connsiteX32" fmla="*/ 3124 w 10012"/>
              <a:gd name="connsiteY32" fmla="*/ 1791 h 10000"/>
              <a:gd name="connsiteX33" fmla="*/ 3227 w 10012"/>
              <a:gd name="connsiteY33" fmla="*/ 2820 h 10000"/>
              <a:gd name="connsiteX34" fmla="*/ 3590 w 10012"/>
              <a:gd name="connsiteY34" fmla="*/ 2500 h 10000"/>
              <a:gd name="connsiteX35" fmla="*/ 3685 w 10012"/>
              <a:gd name="connsiteY35" fmla="*/ 1432 h 10000"/>
              <a:gd name="connsiteX36" fmla="*/ 3754 w 10012"/>
              <a:gd name="connsiteY36" fmla="*/ 1148 h 10000"/>
              <a:gd name="connsiteX37" fmla="*/ 4365 w 10012"/>
              <a:gd name="connsiteY37" fmla="*/ 6693 h 10000"/>
              <a:gd name="connsiteX38" fmla="*/ 4577 w 10012"/>
              <a:gd name="connsiteY38" fmla="*/ 6680 h 10000"/>
              <a:gd name="connsiteX39" fmla="*/ 5263 w 10012"/>
              <a:gd name="connsiteY39" fmla="*/ 766 h 10000"/>
              <a:gd name="connsiteX40" fmla="*/ 5262 w 10012"/>
              <a:gd name="connsiteY40" fmla="*/ 745 h 10000"/>
              <a:gd name="connsiteX41" fmla="*/ 5778 w 10012"/>
              <a:gd name="connsiteY41" fmla="*/ 1286 h 10000"/>
              <a:gd name="connsiteX42" fmla="*/ 5946 w 10012"/>
              <a:gd name="connsiteY42" fmla="*/ 0 h 10000"/>
              <a:gd name="connsiteX43" fmla="*/ 6493 w 10012"/>
              <a:gd name="connsiteY43" fmla="*/ 111 h 10000"/>
              <a:gd name="connsiteX44" fmla="*/ 6806 w 10012"/>
              <a:gd name="connsiteY44" fmla="*/ 42 h 10000"/>
              <a:gd name="connsiteX45" fmla="*/ 7003 w 10012"/>
              <a:gd name="connsiteY45" fmla="*/ 361 h 10000"/>
              <a:gd name="connsiteX46" fmla="*/ 7476 w 10012"/>
              <a:gd name="connsiteY46" fmla="*/ 6005 h 10000"/>
              <a:gd name="connsiteX47" fmla="*/ 8179 w 10012"/>
              <a:gd name="connsiteY47" fmla="*/ 6020 h 10000"/>
              <a:gd name="connsiteX48" fmla="*/ 8378 w 10012"/>
              <a:gd name="connsiteY48" fmla="*/ 4920 h 10000"/>
              <a:gd name="connsiteX49" fmla="*/ 8509 w 10012"/>
              <a:gd name="connsiteY49" fmla="*/ 5527 h 10000"/>
              <a:gd name="connsiteX50" fmla="*/ 8594 w 10012"/>
              <a:gd name="connsiteY50" fmla="*/ 4983 h 10000"/>
              <a:gd name="connsiteX51" fmla="*/ 8659 w 10012"/>
              <a:gd name="connsiteY51" fmla="*/ 7656 h 10000"/>
              <a:gd name="connsiteX52" fmla="*/ 8726 w 10012"/>
              <a:gd name="connsiteY52" fmla="*/ 6573 h 10000"/>
              <a:gd name="connsiteX53" fmla="*/ 8822 w 10012"/>
              <a:gd name="connsiteY53" fmla="*/ 7792 h 10000"/>
              <a:gd name="connsiteX54" fmla="*/ 8875 w 10012"/>
              <a:gd name="connsiteY54" fmla="*/ 7573 h 10000"/>
              <a:gd name="connsiteX55" fmla="*/ 8901 w 10012"/>
              <a:gd name="connsiteY55" fmla="*/ 7948 h 10000"/>
              <a:gd name="connsiteX56" fmla="*/ 8998 w 10012"/>
              <a:gd name="connsiteY56" fmla="*/ 7961 h 10000"/>
              <a:gd name="connsiteX57" fmla="*/ 9004 w 10012"/>
              <a:gd name="connsiteY57" fmla="*/ 7688 h 10000"/>
              <a:gd name="connsiteX58" fmla="*/ 9117 w 10012"/>
              <a:gd name="connsiteY58" fmla="*/ 7907 h 10000"/>
              <a:gd name="connsiteX59" fmla="*/ 9180 w 10012"/>
              <a:gd name="connsiteY59" fmla="*/ 7811 h 10000"/>
              <a:gd name="connsiteX60" fmla="*/ 9205 w 10012"/>
              <a:gd name="connsiteY60" fmla="*/ 7352 h 10000"/>
              <a:gd name="connsiteX61" fmla="*/ 9240 w 10012"/>
              <a:gd name="connsiteY61" fmla="*/ 7794 h 10000"/>
              <a:gd name="connsiteX62" fmla="*/ 9319 w 10012"/>
              <a:gd name="connsiteY62" fmla="*/ 7565 h 10000"/>
              <a:gd name="connsiteX63" fmla="*/ 9433 w 10012"/>
              <a:gd name="connsiteY63" fmla="*/ 7687 h 10000"/>
              <a:gd name="connsiteX64" fmla="*/ 9493 w 10012"/>
              <a:gd name="connsiteY64" fmla="*/ 7948 h 10000"/>
              <a:gd name="connsiteX65" fmla="*/ 9527 w 10012"/>
              <a:gd name="connsiteY65" fmla="*/ 7710 h 10000"/>
              <a:gd name="connsiteX66" fmla="*/ 9586 w 10012"/>
              <a:gd name="connsiteY66" fmla="*/ 7913 h 10000"/>
              <a:gd name="connsiteX67" fmla="*/ 9627 w 10012"/>
              <a:gd name="connsiteY67" fmla="*/ 7220 h 10000"/>
              <a:gd name="connsiteX68" fmla="*/ 9733 w 10012"/>
              <a:gd name="connsiteY68" fmla="*/ 7889 h 10000"/>
              <a:gd name="connsiteX69" fmla="*/ 9846 w 10012"/>
              <a:gd name="connsiteY69" fmla="*/ 7547 h 10000"/>
              <a:gd name="connsiteX70" fmla="*/ 9848 w 10012"/>
              <a:gd name="connsiteY70" fmla="*/ 7270 h 10000"/>
              <a:gd name="connsiteX71" fmla="*/ 9934 w 10012"/>
              <a:gd name="connsiteY71" fmla="*/ 7580 h 10000"/>
              <a:gd name="connsiteX72" fmla="*/ 10012 w 10012"/>
              <a:gd name="connsiteY72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940 w 10012"/>
              <a:gd name="connsiteY21" fmla="*/ 3319 h 10000"/>
              <a:gd name="connsiteX22" fmla="*/ 2031 w 10012"/>
              <a:gd name="connsiteY22" fmla="*/ 1480 h 10000"/>
              <a:gd name="connsiteX23" fmla="*/ 2097 w 10012"/>
              <a:gd name="connsiteY23" fmla="*/ 3547 h 10000"/>
              <a:gd name="connsiteX24" fmla="*/ 2224 w 10012"/>
              <a:gd name="connsiteY24" fmla="*/ 2510 h 10000"/>
              <a:gd name="connsiteX25" fmla="*/ 2237 w 10012"/>
              <a:gd name="connsiteY25" fmla="*/ 1972 h 10000"/>
              <a:gd name="connsiteX26" fmla="*/ 2316 w 10012"/>
              <a:gd name="connsiteY26" fmla="*/ 2750 h 10000"/>
              <a:gd name="connsiteX27" fmla="*/ 2376 w 10012"/>
              <a:gd name="connsiteY27" fmla="*/ 2241 h 10000"/>
              <a:gd name="connsiteX28" fmla="*/ 2431 w 10012"/>
              <a:gd name="connsiteY28" fmla="*/ 2151 h 10000"/>
              <a:gd name="connsiteX29" fmla="*/ 2529 w 10012"/>
              <a:gd name="connsiteY29" fmla="*/ 1570 h 10000"/>
              <a:gd name="connsiteX30" fmla="*/ 2686 w 10012"/>
              <a:gd name="connsiteY30" fmla="*/ 1495 h 10000"/>
              <a:gd name="connsiteX31" fmla="*/ 3124 w 10012"/>
              <a:gd name="connsiteY31" fmla="*/ 1791 h 10000"/>
              <a:gd name="connsiteX32" fmla="*/ 3227 w 10012"/>
              <a:gd name="connsiteY32" fmla="*/ 2820 h 10000"/>
              <a:gd name="connsiteX33" fmla="*/ 3590 w 10012"/>
              <a:gd name="connsiteY33" fmla="*/ 2500 h 10000"/>
              <a:gd name="connsiteX34" fmla="*/ 3685 w 10012"/>
              <a:gd name="connsiteY34" fmla="*/ 1432 h 10000"/>
              <a:gd name="connsiteX35" fmla="*/ 3754 w 10012"/>
              <a:gd name="connsiteY35" fmla="*/ 1148 h 10000"/>
              <a:gd name="connsiteX36" fmla="*/ 4365 w 10012"/>
              <a:gd name="connsiteY36" fmla="*/ 6693 h 10000"/>
              <a:gd name="connsiteX37" fmla="*/ 4577 w 10012"/>
              <a:gd name="connsiteY37" fmla="*/ 6680 h 10000"/>
              <a:gd name="connsiteX38" fmla="*/ 5263 w 10012"/>
              <a:gd name="connsiteY38" fmla="*/ 766 h 10000"/>
              <a:gd name="connsiteX39" fmla="*/ 5262 w 10012"/>
              <a:gd name="connsiteY39" fmla="*/ 745 h 10000"/>
              <a:gd name="connsiteX40" fmla="*/ 5778 w 10012"/>
              <a:gd name="connsiteY40" fmla="*/ 1286 h 10000"/>
              <a:gd name="connsiteX41" fmla="*/ 5946 w 10012"/>
              <a:gd name="connsiteY41" fmla="*/ 0 h 10000"/>
              <a:gd name="connsiteX42" fmla="*/ 6493 w 10012"/>
              <a:gd name="connsiteY42" fmla="*/ 111 h 10000"/>
              <a:gd name="connsiteX43" fmla="*/ 6806 w 10012"/>
              <a:gd name="connsiteY43" fmla="*/ 42 h 10000"/>
              <a:gd name="connsiteX44" fmla="*/ 7003 w 10012"/>
              <a:gd name="connsiteY44" fmla="*/ 361 h 10000"/>
              <a:gd name="connsiteX45" fmla="*/ 7476 w 10012"/>
              <a:gd name="connsiteY45" fmla="*/ 6005 h 10000"/>
              <a:gd name="connsiteX46" fmla="*/ 8179 w 10012"/>
              <a:gd name="connsiteY46" fmla="*/ 6020 h 10000"/>
              <a:gd name="connsiteX47" fmla="*/ 8378 w 10012"/>
              <a:gd name="connsiteY47" fmla="*/ 4920 h 10000"/>
              <a:gd name="connsiteX48" fmla="*/ 8509 w 10012"/>
              <a:gd name="connsiteY48" fmla="*/ 5527 h 10000"/>
              <a:gd name="connsiteX49" fmla="*/ 8594 w 10012"/>
              <a:gd name="connsiteY49" fmla="*/ 4983 h 10000"/>
              <a:gd name="connsiteX50" fmla="*/ 8659 w 10012"/>
              <a:gd name="connsiteY50" fmla="*/ 7656 h 10000"/>
              <a:gd name="connsiteX51" fmla="*/ 8726 w 10012"/>
              <a:gd name="connsiteY51" fmla="*/ 6573 h 10000"/>
              <a:gd name="connsiteX52" fmla="*/ 8822 w 10012"/>
              <a:gd name="connsiteY52" fmla="*/ 7792 h 10000"/>
              <a:gd name="connsiteX53" fmla="*/ 8875 w 10012"/>
              <a:gd name="connsiteY53" fmla="*/ 7573 h 10000"/>
              <a:gd name="connsiteX54" fmla="*/ 8901 w 10012"/>
              <a:gd name="connsiteY54" fmla="*/ 7948 h 10000"/>
              <a:gd name="connsiteX55" fmla="*/ 8998 w 10012"/>
              <a:gd name="connsiteY55" fmla="*/ 7961 h 10000"/>
              <a:gd name="connsiteX56" fmla="*/ 9004 w 10012"/>
              <a:gd name="connsiteY56" fmla="*/ 7688 h 10000"/>
              <a:gd name="connsiteX57" fmla="*/ 9117 w 10012"/>
              <a:gd name="connsiteY57" fmla="*/ 7907 h 10000"/>
              <a:gd name="connsiteX58" fmla="*/ 9180 w 10012"/>
              <a:gd name="connsiteY58" fmla="*/ 7811 h 10000"/>
              <a:gd name="connsiteX59" fmla="*/ 9205 w 10012"/>
              <a:gd name="connsiteY59" fmla="*/ 7352 h 10000"/>
              <a:gd name="connsiteX60" fmla="*/ 9240 w 10012"/>
              <a:gd name="connsiteY60" fmla="*/ 7794 h 10000"/>
              <a:gd name="connsiteX61" fmla="*/ 9319 w 10012"/>
              <a:gd name="connsiteY61" fmla="*/ 7565 h 10000"/>
              <a:gd name="connsiteX62" fmla="*/ 9433 w 10012"/>
              <a:gd name="connsiteY62" fmla="*/ 7687 h 10000"/>
              <a:gd name="connsiteX63" fmla="*/ 9493 w 10012"/>
              <a:gd name="connsiteY63" fmla="*/ 7948 h 10000"/>
              <a:gd name="connsiteX64" fmla="*/ 9527 w 10012"/>
              <a:gd name="connsiteY64" fmla="*/ 7710 h 10000"/>
              <a:gd name="connsiteX65" fmla="*/ 9586 w 10012"/>
              <a:gd name="connsiteY65" fmla="*/ 7913 h 10000"/>
              <a:gd name="connsiteX66" fmla="*/ 9627 w 10012"/>
              <a:gd name="connsiteY66" fmla="*/ 7220 h 10000"/>
              <a:gd name="connsiteX67" fmla="*/ 9733 w 10012"/>
              <a:gd name="connsiteY67" fmla="*/ 7889 h 10000"/>
              <a:gd name="connsiteX68" fmla="*/ 9846 w 10012"/>
              <a:gd name="connsiteY68" fmla="*/ 7547 h 10000"/>
              <a:gd name="connsiteX69" fmla="*/ 9848 w 10012"/>
              <a:gd name="connsiteY69" fmla="*/ 7270 h 10000"/>
              <a:gd name="connsiteX70" fmla="*/ 9934 w 10012"/>
              <a:gd name="connsiteY70" fmla="*/ 7580 h 10000"/>
              <a:gd name="connsiteX71" fmla="*/ 10012 w 10012"/>
              <a:gd name="connsiteY71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537 w 10012"/>
              <a:gd name="connsiteY13" fmla="*/ 2291 h 10000"/>
              <a:gd name="connsiteX14" fmla="*/ 1575 w 10012"/>
              <a:gd name="connsiteY14" fmla="*/ 1121 h 10000"/>
              <a:gd name="connsiteX15" fmla="*/ 1601 w 10012"/>
              <a:gd name="connsiteY15" fmla="*/ 2426 h 10000"/>
              <a:gd name="connsiteX16" fmla="*/ 1629 w 10012"/>
              <a:gd name="connsiteY16" fmla="*/ 2109 h 10000"/>
              <a:gd name="connsiteX17" fmla="*/ 1640 w 10012"/>
              <a:gd name="connsiteY17" fmla="*/ 2333 h 10000"/>
              <a:gd name="connsiteX18" fmla="*/ 1699 w 10012"/>
              <a:gd name="connsiteY18" fmla="*/ 1792 h 10000"/>
              <a:gd name="connsiteX19" fmla="*/ 1796 w 10012"/>
              <a:gd name="connsiteY19" fmla="*/ 2373 h 10000"/>
              <a:gd name="connsiteX20" fmla="*/ 1940 w 10012"/>
              <a:gd name="connsiteY20" fmla="*/ 3319 h 10000"/>
              <a:gd name="connsiteX21" fmla="*/ 2031 w 10012"/>
              <a:gd name="connsiteY21" fmla="*/ 1480 h 10000"/>
              <a:gd name="connsiteX22" fmla="*/ 2097 w 10012"/>
              <a:gd name="connsiteY22" fmla="*/ 3547 h 10000"/>
              <a:gd name="connsiteX23" fmla="*/ 2224 w 10012"/>
              <a:gd name="connsiteY23" fmla="*/ 2510 h 10000"/>
              <a:gd name="connsiteX24" fmla="*/ 2237 w 10012"/>
              <a:gd name="connsiteY24" fmla="*/ 1972 h 10000"/>
              <a:gd name="connsiteX25" fmla="*/ 2316 w 10012"/>
              <a:gd name="connsiteY25" fmla="*/ 2750 h 10000"/>
              <a:gd name="connsiteX26" fmla="*/ 2376 w 10012"/>
              <a:gd name="connsiteY26" fmla="*/ 2241 h 10000"/>
              <a:gd name="connsiteX27" fmla="*/ 2431 w 10012"/>
              <a:gd name="connsiteY27" fmla="*/ 2151 h 10000"/>
              <a:gd name="connsiteX28" fmla="*/ 2529 w 10012"/>
              <a:gd name="connsiteY28" fmla="*/ 1570 h 10000"/>
              <a:gd name="connsiteX29" fmla="*/ 2686 w 10012"/>
              <a:gd name="connsiteY29" fmla="*/ 1495 h 10000"/>
              <a:gd name="connsiteX30" fmla="*/ 3124 w 10012"/>
              <a:gd name="connsiteY30" fmla="*/ 1791 h 10000"/>
              <a:gd name="connsiteX31" fmla="*/ 3227 w 10012"/>
              <a:gd name="connsiteY31" fmla="*/ 2820 h 10000"/>
              <a:gd name="connsiteX32" fmla="*/ 3590 w 10012"/>
              <a:gd name="connsiteY32" fmla="*/ 2500 h 10000"/>
              <a:gd name="connsiteX33" fmla="*/ 3685 w 10012"/>
              <a:gd name="connsiteY33" fmla="*/ 1432 h 10000"/>
              <a:gd name="connsiteX34" fmla="*/ 3754 w 10012"/>
              <a:gd name="connsiteY34" fmla="*/ 1148 h 10000"/>
              <a:gd name="connsiteX35" fmla="*/ 4365 w 10012"/>
              <a:gd name="connsiteY35" fmla="*/ 6693 h 10000"/>
              <a:gd name="connsiteX36" fmla="*/ 4577 w 10012"/>
              <a:gd name="connsiteY36" fmla="*/ 6680 h 10000"/>
              <a:gd name="connsiteX37" fmla="*/ 5263 w 10012"/>
              <a:gd name="connsiteY37" fmla="*/ 766 h 10000"/>
              <a:gd name="connsiteX38" fmla="*/ 5262 w 10012"/>
              <a:gd name="connsiteY38" fmla="*/ 745 h 10000"/>
              <a:gd name="connsiteX39" fmla="*/ 5778 w 10012"/>
              <a:gd name="connsiteY39" fmla="*/ 1286 h 10000"/>
              <a:gd name="connsiteX40" fmla="*/ 5946 w 10012"/>
              <a:gd name="connsiteY40" fmla="*/ 0 h 10000"/>
              <a:gd name="connsiteX41" fmla="*/ 6493 w 10012"/>
              <a:gd name="connsiteY41" fmla="*/ 111 h 10000"/>
              <a:gd name="connsiteX42" fmla="*/ 6806 w 10012"/>
              <a:gd name="connsiteY42" fmla="*/ 42 h 10000"/>
              <a:gd name="connsiteX43" fmla="*/ 7003 w 10012"/>
              <a:gd name="connsiteY43" fmla="*/ 361 h 10000"/>
              <a:gd name="connsiteX44" fmla="*/ 7476 w 10012"/>
              <a:gd name="connsiteY44" fmla="*/ 6005 h 10000"/>
              <a:gd name="connsiteX45" fmla="*/ 8179 w 10012"/>
              <a:gd name="connsiteY45" fmla="*/ 6020 h 10000"/>
              <a:gd name="connsiteX46" fmla="*/ 8378 w 10012"/>
              <a:gd name="connsiteY46" fmla="*/ 4920 h 10000"/>
              <a:gd name="connsiteX47" fmla="*/ 8509 w 10012"/>
              <a:gd name="connsiteY47" fmla="*/ 5527 h 10000"/>
              <a:gd name="connsiteX48" fmla="*/ 8594 w 10012"/>
              <a:gd name="connsiteY48" fmla="*/ 4983 h 10000"/>
              <a:gd name="connsiteX49" fmla="*/ 8659 w 10012"/>
              <a:gd name="connsiteY49" fmla="*/ 7656 h 10000"/>
              <a:gd name="connsiteX50" fmla="*/ 8726 w 10012"/>
              <a:gd name="connsiteY50" fmla="*/ 6573 h 10000"/>
              <a:gd name="connsiteX51" fmla="*/ 8822 w 10012"/>
              <a:gd name="connsiteY51" fmla="*/ 7792 h 10000"/>
              <a:gd name="connsiteX52" fmla="*/ 8875 w 10012"/>
              <a:gd name="connsiteY52" fmla="*/ 7573 h 10000"/>
              <a:gd name="connsiteX53" fmla="*/ 8901 w 10012"/>
              <a:gd name="connsiteY53" fmla="*/ 7948 h 10000"/>
              <a:gd name="connsiteX54" fmla="*/ 8998 w 10012"/>
              <a:gd name="connsiteY54" fmla="*/ 7961 h 10000"/>
              <a:gd name="connsiteX55" fmla="*/ 9004 w 10012"/>
              <a:gd name="connsiteY55" fmla="*/ 7688 h 10000"/>
              <a:gd name="connsiteX56" fmla="*/ 9117 w 10012"/>
              <a:gd name="connsiteY56" fmla="*/ 7907 h 10000"/>
              <a:gd name="connsiteX57" fmla="*/ 9180 w 10012"/>
              <a:gd name="connsiteY57" fmla="*/ 7811 h 10000"/>
              <a:gd name="connsiteX58" fmla="*/ 9205 w 10012"/>
              <a:gd name="connsiteY58" fmla="*/ 7352 h 10000"/>
              <a:gd name="connsiteX59" fmla="*/ 9240 w 10012"/>
              <a:gd name="connsiteY59" fmla="*/ 7794 h 10000"/>
              <a:gd name="connsiteX60" fmla="*/ 9319 w 10012"/>
              <a:gd name="connsiteY60" fmla="*/ 7565 h 10000"/>
              <a:gd name="connsiteX61" fmla="*/ 9433 w 10012"/>
              <a:gd name="connsiteY61" fmla="*/ 7687 h 10000"/>
              <a:gd name="connsiteX62" fmla="*/ 9493 w 10012"/>
              <a:gd name="connsiteY62" fmla="*/ 7948 h 10000"/>
              <a:gd name="connsiteX63" fmla="*/ 9527 w 10012"/>
              <a:gd name="connsiteY63" fmla="*/ 7710 h 10000"/>
              <a:gd name="connsiteX64" fmla="*/ 9586 w 10012"/>
              <a:gd name="connsiteY64" fmla="*/ 7913 h 10000"/>
              <a:gd name="connsiteX65" fmla="*/ 9627 w 10012"/>
              <a:gd name="connsiteY65" fmla="*/ 7220 h 10000"/>
              <a:gd name="connsiteX66" fmla="*/ 9733 w 10012"/>
              <a:gd name="connsiteY66" fmla="*/ 7889 h 10000"/>
              <a:gd name="connsiteX67" fmla="*/ 9846 w 10012"/>
              <a:gd name="connsiteY67" fmla="*/ 7547 h 10000"/>
              <a:gd name="connsiteX68" fmla="*/ 9848 w 10012"/>
              <a:gd name="connsiteY68" fmla="*/ 7270 h 10000"/>
              <a:gd name="connsiteX69" fmla="*/ 9934 w 10012"/>
              <a:gd name="connsiteY69" fmla="*/ 7580 h 10000"/>
              <a:gd name="connsiteX70" fmla="*/ 10012 w 10012"/>
              <a:gd name="connsiteY70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575 w 10012"/>
              <a:gd name="connsiteY13" fmla="*/ 1121 h 10000"/>
              <a:gd name="connsiteX14" fmla="*/ 1601 w 10012"/>
              <a:gd name="connsiteY14" fmla="*/ 2426 h 10000"/>
              <a:gd name="connsiteX15" fmla="*/ 1629 w 10012"/>
              <a:gd name="connsiteY15" fmla="*/ 2109 h 10000"/>
              <a:gd name="connsiteX16" fmla="*/ 1640 w 10012"/>
              <a:gd name="connsiteY16" fmla="*/ 2333 h 10000"/>
              <a:gd name="connsiteX17" fmla="*/ 1699 w 10012"/>
              <a:gd name="connsiteY17" fmla="*/ 1792 h 10000"/>
              <a:gd name="connsiteX18" fmla="*/ 1796 w 10012"/>
              <a:gd name="connsiteY18" fmla="*/ 2373 h 10000"/>
              <a:gd name="connsiteX19" fmla="*/ 1940 w 10012"/>
              <a:gd name="connsiteY19" fmla="*/ 3319 h 10000"/>
              <a:gd name="connsiteX20" fmla="*/ 2031 w 10012"/>
              <a:gd name="connsiteY20" fmla="*/ 1480 h 10000"/>
              <a:gd name="connsiteX21" fmla="*/ 2097 w 10012"/>
              <a:gd name="connsiteY21" fmla="*/ 3547 h 10000"/>
              <a:gd name="connsiteX22" fmla="*/ 2224 w 10012"/>
              <a:gd name="connsiteY22" fmla="*/ 2510 h 10000"/>
              <a:gd name="connsiteX23" fmla="*/ 2237 w 10012"/>
              <a:gd name="connsiteY23" fmla="*/ 1972 h 10000"/>
              <a:gd name="connsiteX24" fmla="*/ 2316 w 10012"/>
              <a:gd name="connsiteY24" fmla="*/ 2750 h 10000"/>
              <a:gd name="connsiteX25" fmla="*/ 2376 w 10012"/>
              <a:gd name="connsiteY25" fmla="*/ 2241 h 10000"/>
              <a:gd name="connsiteX26" fmla="*/ 2431 w 10012"/>
              <a:gd name="connsiteY26" fmla="*/ 2151 h 10000"/>
              <a:gd name="connsiteX27" fmla="*/ 2529 w 10012"/>
              <a:gd name="connsiteY27" fmla="*/ 1570 h 10000"/>
              <a:gd name="connsiteX28" fmla="*/ 2686 w 10012"/>
              <a:gd name="connsiteY28" fmla="*/ 1495 h 10000"/>
              <a:gd name="connsiteX29" fmla="*/ 3124 w 10012"/>
              <a:gd name="connsiteY29" fmla="*/ 1791 h 10000"/>
              <a:gd name="connsiteX30" fmla="*/ 3227 w 10012"/>
              <a:gd name="connsiteY30" fmla="*/ 2820 h 10000"/>
              <a:gd name="connsiteX31" fmla="*/ 3590 w 10012"/>
              <a:gd name="connsiteY31" fmla="*/ 2500 h 10000"/>
              <a:gd name="connsiteX32" fmla="*/ 3685 w 10012"/>
              <a:gd name="connsiteY32" fmla="*/ 1432 h 10000"/>
              <a:gd name="connsiteX33" fmla="*/ 3754 w 10012"/>
              <a:gd name="connsiteY33" fmla="*/ 1148 h 10000"/>
              <a:gd name="connsiteX34" fmla="*/ 4365 w 10012"/>
              <a:gd name="connsiteY34" fmla="*/ 6693 h 10000"/>
              <a:gd name="connsiteX35" fmla="*/ 4577 w 10012"/>
              <a:gd name="connsiteY35" fmla="*/ 6680 h 10000"/>
              <a:gd name="connsiteX36" fmla="*/ 5263 w 10012"/>
              <a:gd name="connsiteY36" fmla="*/ 766 h 10000"/>
              <a:gd name="connsiteX37" fmla="*/ 5262 w 10012"/>
              <a:gd name="connsiteY37" fmla="*/ 745 h 10000"/>
              <a:gd name="connsiteX38" fmla="*/ 5778 w 10012"/>
              <a:gd name="connsiteY38" fmla="*/ 1286 h 10000"/>
              <a:gd name="connsiteX39" fmla="*/ 5946 w 10012"/>
              <a:gd name="connsiteY39" fmla="*/ 0 h 10000"/>
              <a:gd name="connsiteX40" fmla="*/ 6493 w 10012"/>
              <a:gd name="connsiteY40" fmla="*/ 111 h 10000"/>
              <a:gd name="connsiteX41" fmla="*/ 6806 w 10012"/>
              <a:gd name="connsiteY41" fmla="*/ 42 h 10000"/>
              <a:gd name="connsiteX42" fmla="*/ 7003 w 10012"/>
              <a:gd name="connsiteY42" fmla="*/ 361 h 10000"/>
              <a:gd name="connsiteX43" fmla="*/ 7476 w 10012"/>
              <a:gd name="connsiteY43" fmla="*/ 6005 h 10000"/>
              <a:gd name="connsiteX44" fmla="*/ 8179 w 10012"/>
              <a:gd name="connsiteY44" fmla="*/ 6020 h 10000"/>
              <a:gd name="connsiteX45" fmla="*/ 8378 w 10012"/>
              <a:gd name="connsiteY45" fmla="*/ 4920 h 10000"/>
              <a:gd name="connsiteX46" fmla="*/ 8509 w 10012"/>
              <a:gd name="connsiteY46" fmla="*/ 5527 h 10000"/>
              <a:gd name="connsiteX47" fmla="*/ 8594 w 10012"/>
              <a:gd name="connsiteY47" fmla="*/ 4983 h 10000"/>
              <a:gd name="connsiteX48" fmla="*/ 8659 w 10012"/>
              <a:gd name="connsiteY48" fmla="*/ 7656 h 10000"/>
              <a:gd name="connsiteX49" fmla="*/ 8726 w 10012"/>
              <a:gd name="connsiteY49" fmla="*/ 6573 h 10000"/>
              <a:gd name="connsiteX50" fmla="*/ 8822 w 10012"/>
              <a:gd name="connsiteY50" fmla="*/ 7792 h 10000"/>
              <a:gd name="connsiteX51" fmla="*/ 8875 w 10012"/>
              <a:gd name="connsiteY51" fmla="*/ 7573 h 10000"/>
              <a:gd name="connsiteX52" fmla="*/ 8901 w 10012"/>
              <a:gd name="connsiteY52" fmla="*/ 7948 h 10000"/>
              <a:gd name="connsiteX53" fmla="*/ 8998 w 10012"/>
              <a:gd name="connsiteY53" fmla="*/ 7961 h 10000"/>
              <a:gd name="connsiteX54" fmla="*/ 9004 w 10012"/>
              <a:gd name="connsiteY54" fmla="*/ 7688 h 10000"/>
              <a:gd name="connsiteX55" fmla="*/ 9117 w 10012"/>
              <a:gd name="connsiteY55" fmla="*/ 7907 h 10000"/>
              <a:gd name="connsiteX56" fmla="*/ 9180 w 10012"/>
              <a:gd name="connsiteY56" fmla="*/ 7811 h 10000"/>
              <a:gd name="connsiteX57" fmla="*/ 9205 w 10012"/>
              <a:gd name="connsiteY57" fmla="*/ 7352 h 10000"/>
              <a:gd name="connsiteX58" fmla="*/ 9240 w 10012"/>
              <a:gd name="connsiteY58" fmla="*/ 7794 h 10000"/>
              <a:gd name="connsiteX59" fmla="*/ 9319 w 10012"/>
              <a:gd name="connsiteY59" fmla="*/ 7565 h 10000"/>
              <a:gd name="connsiteX60" fmla="*/ 9433 w 10012"/>
              <a:gd name="connsiteY60" fmla="*/ 7687 h 10000"/>
              <a:gd name="connsiteX61" fmla="*/ 9493 w 10012"/>
              <a:gd name="connsiteY61" fmla="*/ 7948 h 10000"/>
              <a:gd name="connsiteX62" fmla="*/ 9527 w 10012"/>
              <a:gd name="connsiteY62" fmla="*/ 7710 h 10000"/>
              <a:gd name="connsiteX63" fmla="*/ 9586 w 10012"/>
              <a:gd name="connsiteY63" fmla="*/ 7913 h 10000"/>
              <a:gd name="connsiteX64" fmla="*/ 9627 w 10012"/>
              <a:gd name="connsiteY64" fmla="*/ 7220 h 10000"/>
              <a:gd name="connsiteX65" fmla="*/ 9733 w 10012"/>
              <a:gd name="connsiteY65" fmla="*/ 7889 h 10000"/>
              <a:gd name="connsiteX66" fmla="*/ 9846 w 10012"/>
              <a:gd name="connsiteY66" fmla="*/ 7547 h 10000"/>
              <a:gd name="connsiteX67" fmla="*/ 9848 w 10012"/>
              <a:gd name="connsiteY67" fmla="*/ 7270 h 10000"/>
              <a:gd name="connsiteX68" fmla="*/ 9934 w 10012"/>
              <a:gd name="connsiteY68" fmla="*/ 7580 h 10000"/>
              <a:gd name="connsiteX69" fmla="*/ 10012 w 10012"/>
              <a:gd name="connsiteY69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601 w 10012"/>
              <a:gd name="connsiteY13" fmla="*/ 2426 h 10000"/>
              <a:gd name="connsiteX14" fmla="*/ 1629 w 10012"/>
              <a:gd name="connsiteY14" fmla="*/ 2109 h 10000"/>
              <a:gd name="connsiteX15" fmla="*/ 1640 w 10012"/>
              <a:gd name="connsiteY15" fmla="*/ 2333 h 10000"/>
              <a:gd name="connsiteX16" fmla="*/ 1699 w 10012"/>
              <a:gd name="connsiteY16" fmla="*/ 1792 h 10000"/>
              <a:gd name="connsiteX17" fmla="*/ 1796 w 10012"/>
              <a:gd name="connsiteY17" fmla="*/ 2373 h 10000"/>
              <a:gd name="connsiteX18" fmla="*/ 1940 w 10012"/>
              <a:gd name="connsiteY18" fmla="*/ 3319 h 10000"/>
              <a:gd name="connsiteX19" fmla="*/ 2031 w 10012"/>
              <a:gd name="connsiteY19" fmla="*/ 1480 h 10000"/>
              <a:gd name="connsiteX20" fmla="*/ 2097 w 10012"/>
              <a:gd name="connsiteY20" fmla="*/ 3547 h 10000"/>
              <a:gd name="connsiteX21" fmla="*/ 2224 w 10012"/>
              <a:gd name="connsiteY21" fmla="*/ 2510 h 10000"/>
              <a:gd name="connsiteX22" fmla="*/ 2237 w 10012"/>
              <a:gd name="connsiteY22" fmla="*/ 1972 h 10000"/>
              <a:gd name="connsiteX23" fmla="*/ 2316 w 10012"/>
              <a:gd name="connsiteY23" fmla="*/ 2750 h 10000"/>
              <a:gd name="connsiteX24" fmla="*/ 2376 w 10012"/>
              <a:gd name="connsiteY24" fmla="*/ 2241 h 10000"/>
              <a:gd name="connsiteX25" fmla="*/ 2431 w 10012"/>
              <a:gd name="connsiteY25" fmla="*/ 2151 h 10000"/>
              <a:gd name="connsiteX26" fmla="*/ 2529 w 10012"/>
              <a:gd name="connsiteY26" fmla="*/ 1570 h 10000"/>
              <a:gd name="connsiteX27" fmla="*/ 2686 w 10012"/>
              <a:gd name="connsiteY27" fmla="*/ 1495 h 10000"/>
              <a:gd name="connsiteX28" fmla="*/ 3124 w 10012"/>
              <a:gd name="connsiteY28" fmla="*/ 1791 h 10000"/>
              <a:gd name="connsiteX29" fmla="*/ 3227 w 10012"/>
              <a:gd name="connsiteY29" fmla="*/ 2820 h 10000"/>
              <a:gd name="connsiteX30" fmla="*/ 3590 w 10012"/>
              <a:gd name="connsiteY30" fmla="*/ 2500 h 10000"/>
              <a:gd name="connsiteX31" fmla="*/ 3685 w 10012"/>
              <a:gd name="connsiteY31" fmla="*/ 1432 h 10000"/>
              <a:gd name="connsiteX32" fmla="*/ 3754 w 10012"/>
              <a:gd name="connsiteY32" fmla="*/ 1148 h 10000"/>
              <a:gd name="connsiteX33" fmla="*/ 4365 w 10012"/>
              <a:gd name="connsiteY33" fmla="*/ 6693 h 10000"/>
              <a:gd name="connsiteX34" fmla="*/ 4577 w 10012"/>
              <a:gd name="connsiteY34" fmla="*/ 6680 h 10000"/>
              <a:gd name="connsiteX35" fmla="*/ 5263 w 10012"/>
              <a:gd name="connsiteY35" fmla="*/ 766 h 10000"/>
              <a:gd name="connsiteX36" fmla="*/ 5262 w 10012"/>
              <a:gd name="connsiteY36" fmla="*/ 745 h 10000"/>
              <a:gd name="connsiteX37" fmla="*/ 5778 w 10012"/>
              <a:gd name="connsiteY37" fmla="*/ 1286 h 10000"/>
              <a:gd name="connsiteX38" fmla="*/ 5946 w 10012"/>
              <a:gd name="connsiteY38" fmla="*/ 0 h 10000"/>
              <a:gd name="connsiteX39" fmla="*/ 6493 w 10012"/>
              <a:gd name="connsiteY39" fmla="*/ 111 h 10000"/>
              <a:gd name="connsiteX40" fmla="*/ 6806 w 10012"/>
              <a:gd name="connsiteY40" fmla="*/ 42 h 10000"/>
              <a:gd name="connsiteX41" fmla="*/ 7003 w 10012"/>
              <a:gd name="connsiteY41" fmla="*/ 361 h 10000"/>
              <a:gd name="connsiteX42" fmla="*/ 7476 w 10012"/>
              <a:gd name="connsiteY42" fmla="*/ 6005 h 10000"/>
              <a:gd name="connsiteX43" fmla="*/ 8179 w 10012"/>
              <a:gd name="connsiteY43" fmla="*/ 6020 h 10000"/>
              <a:gd name="connsiteX44" fmla="*/ 8378 w 10012"/>
              <a:gd name="connsiteY44" fmla="*/ 4920 h 10000"/>
              <a:gd name="connsiteX45" fmla="*/ 8509 w 10012"/>
              <a:gd name="connsiteY45" fmla="*/ 5527 h 10000"/>
              <a:gd name="connsiteX46" fmla="*/ 8594 w 10012"/>
              <a:gd name="connsiteY46" fmla="*/ 4983 h 10000"/>
              <a:gd name="connsiteX47" fmla="*/ 8659 w 10012"/>
              <a:gd name="connsiteY47" fmla="*/ 7656 h 10000"/>
              <a:gd name="connsiteX48" fmla="*/ 8726 w 10012"/>
              <a:gd name="connsiteY48" fmla="*/ 6573 h 10000"/>
              <a:gd name="connsiteX49" fmla="*/ 8822 w 10012"/>
              <a:gd name="connsiteY49" fmla="*/ 7792 h 10000"/>
              <a:gd name="connsiteX50" fmla="*/ 8875 w 10012"/>
              <a:gd name="connsiteY50" fmla="*/ 7573 h 10000"/>
              <a:gd name="connsiteX51" fmla="*/ 8901 w 10012"/>
              <a:gd name="connsiteY51" fmla="*/ 7948 h 10000"/>
              <a:gd name="connsiteX52" fmla="*/ 8998 w 10012"/>
              <a:gd name="connsiteY52" fmla="*/ 7961 h 10000"/>
              <a:gd name="connsiteX53" fmla="*/ 9004 w 10012"/>
              <a:gd name="connsiteY53" fmla="*/ 7688 h 10000"/>
              <a:gd name="connsiteX54" fmla="*/ 9117 w 10012"/>
              <a:gd name="connsiteY54" fmla="*/ 7907 h 10000"/>
              <a:gd name="connsiteX55" fmla="*/ 9180 w 10012"/>
              <a:gd name="connsiteY55" fmla="*/ 7811 h 10000"/>
              <a:gd name="connsiteX56" fmla="*/ 9205 w 10012"/>
              <a:gd name="connsiteY56" fmla="*/ 7352 h 10000"/>
              <a:gd name="connsiteX57" fmla="*/ 9240 w 10012"/>
              <a:gd name="connsiteY57" fmla="*/ 7794 h 10000"/>
              <a:gd name="connsiteX58" fmla="*/ 9319 w 10012"/>
              <a:gd name="connsiteY58" fmla="*/ 7565 h 10000"/>
              <a:gd name="connsiteX59" fmla="*/ 9433 w 10012"/>
              <a:gd name="connsiteY59" fmla="*/ 7687 h 10000"/>
              <a:gd name="connsiteX60" fmla="*/ 9493 w 10012"/>
              <a:gd name="connsiteY60" fmla="*/ 7948 h 10000"/>
              <a:gd name="connsiteX61" fmla="*/ 9527 w 10012"/>
              <a:gd name="connsiteY61" fmla="*/ 7710 h 10000"/>
              <a:gd name="connsiteX62" fmla="*/ 9586 w 10012"/>
              <a:gd name="connsiteY62" fmla="*/ 7913 h 10000"/>
              <a:gd name="connsiteX63" fmla="*/ 9627 w 10012"/>
              <a:gd name="connsiteY63" fmla="*/ 7220 h 10000"/>
              <a:gd name="connsiteX64" fmla="*/ 9733 w 10012"/>
              <a:gd name="connsiteY64" fmla="*/ 7889 h 10000"/>
              <a:gd name="connsiteX65" fmla="*/ 9846 w 10012"/>
              <a:gd name="connsiteY65" fmla="*/ 7547 h 10000"/>
              <a:gd name="connsiteX66" fmla="*/ 9848 w 10012"/>
              <a:gd name="connsiteY66" fmla="*/ 7270 h 10000"/>
              <a:gd name="connsiteX67" fmla="*/ 9934 w 10012"/>
              <a:gd name="connsiteY67" fmla="*/ 7580 h 10000"/>
              <a:gd name="connsiteX68" fmla="*/ 10012 w 10012"/>
              <a:gd name="connsiteY68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601 w 10012"/>
              <a:gd name="connsiteY13" fmla="*/ 2426 h 10000"/>
              <a:gd name="connsiteX14" fmla="*/ 1640 w 10012"/>
              <a:gd name="connsiteY14" fmla="*/ 2333 h 10000"/>
              <a:gd name="connsiteX15" fmla="*/ 1699 w 10012"/>
              <a:gd name="connsiteY15" fmla="*/ 1792 h 10000"/>
              <a:gd name="connsiteX16" fmla="*/ 1796 w 10012"/>
              <a:gd name="connsiteY16" fmla="*/ 2373 h 10000"/>
              <a:gd name="connsiteX17" fmla="*/ 1940 w 10012"/>
              <a:gd name="connsiteY17" fmla="*/ 3319 h 10000"/>
              <a:gd name="connsiteX18" fmla="*/ 2031 w 10012"/>
              <a:gd name="connsiteY18" fmla="*/ 1480 h 10000"/>
              <a:gd name="connsiteX19" fmla="*/ 2097 w 10012"/>
              <a:gd name="connsiteY19" fmla="*/ 3547 h 10000"/>
              <a:gd name="connsiteX20" fmla="*/ 2224 w 10012"/>
              <a:gd name="connsiteY20" fmla="*/ 2510 h 10000"/>
              <a:gd name="connsiteX21" fmla="*/ 2237 w 10012"/>
              <a:gd name="connsiteY21" fmla="*/ 1972 h 10000"/>
              <a:gd name="connsiteX22" fmla="*/ 2316 w 10012"/>
              <a:gd name="connsiteY22" fmla="*/ 2750 h 10000"/>
              <a:gd name="connsiteX23" fmla="*/ 2376 w 10012"/>
              <a:gd name="connsiteY23" fmla="*/ 2241 h 10000"/>
              <a:gd name="connsiteX24" fmla="*/ 2431 w 10012"/>
              <a:gd name="connsiteY24" fmla="*/ 2151 h 10000"/>
              <a:gd name="connsiteX25" fmla="*/ 2529 w 10012"/>
              <a:gd name="connsiteY25" fmla="*/ 1570 h 10000"/>
              <a:gd name="connsiteX26" fmla="*/ 2686 w 10012"/>
              <a:gd name="connsiteY26" fmla="*/ 1495 h 10000"/>
              <a:gd name="connsiteX27" fmla="*/ 3124 w 10012"/>
              <a:gd name="connsiteY27" fmla="*/ 1791 h 10000"/>
              <a:gd name="connsiteX28" fmla="*/ 3227 w 10012"/>
              <a:gd name="connsiteY28" fmla="*/ 2820 h 10000"/>
              <a:gd name="connsiteX29" fmla="*/ 3590 w 10012"/>
              <a:gd name="connsiteY29" fmla="*/ 2500 h 10000"/>
              <a:gd name="connsiteX30" fmla="*/ 3685 w 10012"/>
              <a:gd name="connsiteY30" fmla="*/ 1432 h 10000"/>
              <a:gd name="connsiteX31" fmla="*/ 3754 w 10012"/>
              <a:gd name="connsiteY31" fmla="*/ 1148 h 10000"/>
              <a:gd name="connsiteX32" fmla="*/ 4365 w 10012"/>
              <a:gd name="connsiteY32" fmla="*/ 6693 h 10000"/>
              <a:gd name="connsiteX33" fmla="*/ 4577 w 10012"/>
              <a:gd name="connsiteY33" fmla="*/ 6680 h 10000"/>
              <a:gd name="connsiteX34" fmla="*/ 5263 w 10012"/>
              <a:gd name="connsiteY34" fmla="*/ 766 h 10000"/>
              <a:gd name="connsiteX35" fmla="*/ 5262 w 10012"/>
              <a:gd name="connsiteY35" fmla="*/ 745 h 10000"/>
              <a:gd name="connsiteX36" fmla="*/ 5778 w 10012"/>
              <a:gd name="connsiteY36" fmla="*/ 1286 h 10000"/>
              <a:gd name="connsiteX37" fmla="*/ 5946 w 10012"/>
              <a:gd name="connsiteY37" fmla="*/ 0 h 10000"/>
              <a:gd name="connsiteX38" fmla="*/ 6493 w 10012"/>
              <a:gd name="connsiteY38" fmla="*/ 111 h 10000"/>
              <a:gd name="connsiteX39" fmla="*/ 6806 w 10012"/>
              <a:gd name="connsiteY39" fmla="*/ 42 h 10000"/>
              <a:gd name="connsiteX40" fmla="*/ 7003 w 10012"/>
              <a:gd name="connsiteY40" fmla="*/ 361 h 10000"/>
              <a:gd name="connsiteX41" fmla="*/ 7476 w 10012"/>
              <a:gd name="connsiteY41" fmla="*/ 6005 h 10000"/>
              <a:gd name="connsiteX42" fmla="*/ 8179 w 10012"/>
              <a:gd name="connsiteY42" fmla="*/ 6020 h 10000"/>
              <a:gd name="connsiteX43" fmla="*/ 8378 w 10012"/>
              <a:gd name="connsiteY43" fmla="*/ 4920 h 10000"/>
              <a:gd name="connsiteX44" fmla="*/ 8509 w 10012"/>
              <a:gd name="connsiteY44" fmla="*/ 5527 h 10000"/>
              <a:gd name="connsiteX45" fmla="*/ 8594 w 10012"/>
              <a:gd name="connsiteY45" fmla="*/ 4983 h 10000"/>
              <a:gd name="connsiteX46" fmla="*/ 8659 w 10012"/>
              <a:gd name="connsiteY46" fmla="*/ 7656 h 10000"/>
              <a:gd name="connsiteX47" fmla="*/ 8726 w 10012"/>
              <a:gd name="connsiteY47" fmla="*/ 6573 h 10000"/>
              <a:gd name="connsiteX48" fmla="*/ 8822 w 10012"/>
              <a:gd name="connsiteY48" fmla="*/ 7792 h 10000"/>
              <a:gd name="connsiteX49" fmla="*/ 8875 w 10012"/>
              <a:gd name="connsiteY49" fmla="*/ 7573 h 10000"/>
              <a:gd name="connsiteX50" fmla="*/ 8901 w 10012"/>
              <a:gd name="connsiteY50" fmla="*/ 7948 h 10000"/>
              <a:gd name="connsiteX51" fmla="*/ 8998 w 10012"/>
              <a:gd name="connsiteY51" fmla="*/ 7961 h 10000"/>
              <a:gd name="connsiteX52" fmla="*/ 9004 w 10012"/>
              <a:gd name="connsiteY52" fmla="*/ 7688 h 10000"/>
              <a:gd name="connsiteX53" fmla="*/ 9117 w 10012"/>
              <a:gd name="connsiteY53" fmla="*/ 7907 h 10000"/>
              <a:gd name="connsiteX54" fmla="*/ 9180 w 10012"/>
              <a:gd name="connsiteY54" fmla="*/ 7811 h 10000"/>
              <a:gd name="connsiteX55" fmla="*/ 9205 w 10012"/>
              <a:gd name="connsiteY55" fmla="*/ 7352 h 10000"/>
              <a:gd name="connsiteX56" fmla="*/ 9240 w 10012"/>
              <a:gd name="connsiteY56" fmla="*/ 7794 h 10000"/>
              <a:gd name="connsiteX57" fmla="*/ 9319 w 10012"/>
              <a:gd name="connsiteY57" fmla="*/ 7565 h 10000"/>
              <a:gd name="connsiteX58" fmla="*/ 9433 w 10012"/>
              <a:gd name="connsiteY58" fmla="*/ 7687 h 10000"/>
              <a:gd name="connsiteX59" fmla="*/ 9493 w 10012"/>
              <a:gd name="connsiteY59" fmla="*/ 7948 h 10000"/>
              <a:gd name="connsiteX60" fmla="*/ 9527 w 10012"/>
              <a:gd name="connsiteY60" fmla="*/ 7710 h 10000"/>
              <a:gd name="connsiteX61" fmla="*/ 9586 w 10012"/>
              <a:gd name="connsiteY61" fmla="*/ 7913 h 10000"/>
              <a:gd name="connsiteX62" fmla="*/ 9627 w 10012"/>
              <a:gd name="connsiteY62" fmla="*/ 7220 h 10000"/>
              <a:gd name="connsiteX63" fmla="*/ 9733 w 10012"/>
              <a:gd name="connsiteY63" fmla="*/ 7889 h 10000"/>
              <a:gd name="connsiteX64" fmla="*/ 9846 w 10012"/>
              <a:gd name="connsiteY64" fmla="*/ 7547 h 10000"/>
              <a:gd name="connsiteX65" fmla="*/ 9848 w 10012"/>
              <a:gd name="connsiteY65" fmla="*/ 7270 h 10000"/>
              <a:gd name="connsiteX66" fmla="*/ 9934 w 10012"/>
              <a:gd name="connsiteY66" fmla="*/ 7580 h 10000"/>
              <a:gd name="connsiteX67" fmla="*/ 10012 w 10012"/>
              <a:gd name="connsiteY67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601 w 10012"/>
              <a:gd name="connsiteY13" fmla="*/ 2426 h 10000"/>
              <a:gd name="connsiteX14" fmla="*/ 1699 w 10012"/>
              <a:gd name="connsiteY14" fmla="*/ 1792 h 10000"/>
              <a:gd name="connsiteX15" fmla="*/ 1796 w 10012"/>
              <a:gd name="connsiteY15" fmla="*/ 2373 h 10000"/>
              <a:gd name="connsiteX16" fmla="*/ 1940 w 10012"/>
              <a:gd name="connsiteY16" fmla="*/ 3319 h 10000"/>
              <a:gd name="connsiteX17" fmla="*/ 2031 w 10012"/>
              <a:gd name="connsiteY17" fmla="*/ 1480 h 10000"/>
              <a:gd name="connsiteX18" fmla="*/ 2097 w 10012"/>
              <a:gd name="connsiteY18" fmla="*/ 3547 h 10000"/>
              <a:gd name="connsiteX19" fmla="*/ 2224 w 10012"/>
              <a:gd name="connsiteY19" fmla="*/ 2510 h 10000"/>
              <a:gd name="connsiteX20" fmla="*/ 2237 w 10012"/>
              <a:gd name="connsiteY20" fmla="*/ 1972 h 10000"/>
              <a:gd name="connsiteX21" fmla="*/ 2316 w 10012"/>
              <a:gd name="connsiteY21" fmla="*/ 2750 h 10000"/>
              <a:gd name="connsiteX22" fmla="*/ 2376 w 10012"/>
              <a:gd name="connsiteY22" fmla="*/ 2241 h 10000"/>
              <a:gd name="connsiteX23" fmla="*/ 2431 w 10012"/>
              <a:gd name="connsiteY23" fmla="*/ 2151 h 10000"/>
              <a:gd name="connsiteX24" fmla="*/ 2529 w 10012"/>
              <a:gd name="connsiteY24" fmla="*/ 1570 h 10000"/>
              <a:gd name="connsiteX25" fmla="*/ 2686 w 10012"/>
              <a:gd name="connsiteY25" fmla="*/ 1495 h 10000"/>
              <a:gd name="connsiteX26" fmla="*/ 3124 w 10012"/>
              <a:gd name="connsiteY26" fmla="*/ 1791 h 10000"/>
              <a:gd name="connsiteX27" fmla="*/ 3227 w 10012"/>
              <a:gd name="connsiteY27" fmla="*/ 2820 h 10000"/>
              <a:gd name="connsiteX28" fmla="*/ 3590 w 10012"/>
              <a:gd name="connsiteY28" fmla="*/ 2500 h 10000"/>
              <a:gd name="connsiteX29" fmla="*/ 3685 w 10012"/>
              <a:gd name="connsiteY29" fmla="*/ 1432 h 10000"/>
              <a:gd name="connsiteX30" fmla="*/ 3754 w 10012"/>
              <a:gd name="connsiteY30" fmla="*/ 1148 h 10000"/>
              <a:gd name="connsiteX31" fmla="*/ 4365 w 10012"/>
              <a:gd name="connsiteY31" fmla="*/ 6693 h 10000"/>
              <a:gd name="connsiteX32" fmla="*/ 4577 w 10012"/>
              <a:gd name="connsiteY32" fmla="*/ 6680 h 10000"/>
              <a:gd name="connsiteX33" fmla="*/ 5263 w 10012"/>
              <a:gd name="connsiteY33" fmla="*/ 766 h 10000"/>
              <a:gd name="connsiteX34" fmla="*/ 5262 w 10012"/>
              <a:gd name="connsiteY34" fmla="*/ 745 h 10000"/>
              <a:gd name="connsiteX35" fmla="*/ 5778 w 10012"/>
              <a:gd name="connsiteY35" fmla="*/ 1286 h 10000"/>
              <a:gd name="connsiteX36" fmla="*/ 5946 w 10012"/>
              <a:gd name="connsiteY36" fmla="*/ 0 h 10000"/>
              <a:gd name="connsiteX37" fmla="*/ 6493 w 10012"/>
              <a:gd name="connsiteY37" fmla="*/ 111 h 10000"/>
              <a:gd name="connsiteX38" fmla="*/ 6806 w 10012"/>
              <a:gd name="connsiteY38" fmla="*/ 42 h 10000"/>
              <a:gd name="connsiteX39" fmla="*/ 7003 w 10012"/>
              <a:gd name="connsiteY39" fmla="*/ 361 h 10000"/>
              <a:gd name="connsiteX40" fmla="*/ 7476 w 10012"/>
              <a:gd name="connsiteY40" fmla="*/ 6005 h 10000"/>
              <a:gd name="connsiteX41" fmla="*/ 8179 w 10012"/>
              <a:gd name="connsiteY41" fmla="*/ 6020 h 10000"/>
              <a:gd name="connsiteX42" fmla="*/ 8378 w 10012"/>
              <a:gd name="connsiteY42" fmla="*/ 4920 h 10000"/>
              <a:gd name="connsiteX43" fmla="*/ 8509 w 10012"/>
              <a:gd name="connsiteY43" fmla="*/ 5527 h 10000"/>
              <a:gd name="connsiteX44" fmla="*/ 8594 w 10012"/>
              <a:gd name="connsiteY44" fmla="*/ 4983 h 10000"/>
              <a:gd name="connsiteX45" fmla="*/ 8659 w 10012"/>
              <a:gd name="connsiteY45" fmla="*/ 7656 h 10000"/>
              <a:gd name="connsiteX46" fmla="*/ 8726 w 10012"/>
              <a:gd name="connsiteY46" fmla="*/ 6573 h 10000"/>
              <a:gd name="connsiteX47" fmla="*/ 8822 w 10012"/>
              <a:gd name="connsiteY47" fmla="*/ 7792 h 10000"/>
              <a:gd name="connsiteX48" fmla="*/ 8875 w 10012"/>
              <a:gd name="connsiteY48" fmla="*/ 7573 h 10000"/>
              <a:gd name="connsiteX49" fmla="*/ 8901 w 10012"/>
              <a:gd name="connsiteY49" fmla="*/ 7948 h 10000"/>
              <a:gd name="connsiteX50" fmla="*/ 8998 w 10012"/>
              <a:gd name="connsiteY50" fmla="*/ 7961 h 10000"/>
              <a:gd name="connsiteX51" fmla="*/ 9004 w 10012"/>
              <a:gd name="connsiteY51" fmla="*/ 7688 h 10000"/>
              <a:gd name="connsiteX52" fmla="*/ 9117 w 10012"/>
              <a:gd name="connsiteY52" fmla="*/ 7907 h 10000"/>
              <a:gd name="connsiteX53" fmla="*/ 9180 w 10012"/>
              <a:gd name="connsiteY53" fmla="*/ 7811 h 10000"/>
              <a:gd name="connsiteX54" fmla="*/ 9205 w 10012"/>
              <a:gd name="connsiteY54" fmla="*/ 7352 h 10000"/>
              <a:gd name="connsiteX55" fmla="*/ 9240 w 10012"/>
              <a:gd name="connsiteY55" fmla="*/ 7794 h 10000"/>
              <a:gd name="connsiteX56" fmla="*/ 9319 w 10012"/>
              <a:gd name="connsiteY56" fmla="*/ 7565 h 10000"/>
              <a:gd name="connsiteX57" fmla="*/ 9433 w 10012"/>
              <a:gd name="connsiteY57" fmla="*/ 7687 h 10000"/>
              <a:gd name="connsiteX58" fmla="*/ 9493 w 10012"/>
              <a:gd name="connsiteY58" fmla="*/ 7948 h 10000"/>
              <a:gd name="connsiteX59" fmla="*/ 9527 w 10012"/>
              <a:gd name="connsiteY59" fmla="*/ 7710 h 10000"/>
              <a:gd name="connsiteX60" fmla="*/ 9586 w 10012"/>
              <a:gd name="connsiteY60" fmla="*/ 7913 h 10000"/>
              <a:gd name="connsiteX61" fmla="*/ 9627 w 10012"/>
              <a:gd name="connsiteY61" fmla="*/ 7220 h 10000"/>
              <a:gd name="connsiteX62" fmla="*/ 9733 w 10012"/>
              <a:gd name="connsiteY62" fmla="*/ 7889 h 10000"/>
              <a:gd name="connsiteX63" fmla="*/ 9846 w 10012"/>
              <a:gd name="connsiteY63" fmla="*/ 7547 h 10000"/>
              <a:gd name="connsiteX64" fmla="*/ 9848 w 10012"/>
              <a:gd name="connsiteY64" fmla="*/ 7270 h 10000"/>
              <a:gd name="connsiteX65" fmla="*/ 9934 w 10012"/>
              <a:gd name="connsiteY65" fmla="*/ 7580 h 10000"/>
              <a:gd name="connsiteX66" fmla="*/ 10012 w 10012"/>
              <a:gd name="connsiteY66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699 w 10012"/>
              <a:gd name="connsiteY13" fmla="*/ 1792 h 10000"/>
              <a:gd name="connsiteX14" fmla="*/ 1796 w 10012"/>
              <a:gd name="connsiteY14" fmla="*/ 2373 h 10000"/>
              <a:gd name="connsiteX15" fmla="*/ 1940 w 10012"/>
              <a:gd name="connsiteY15" fmla="*/ 3319 h 10000"/>
              <a:gd name="connsiteX16" fmla="*/ 2031 w 10012"/>
              <a:gd name="connsiteY16" fmla="*/ 1480 h 10000"/>
              <a:gd name="connsiteX17" fmla="*/ 2097 w 10012"/>
              <a:gd name="connsiteY17" fmla="*/ 3547 h 10000"/>
              <a:gd name="connsiteX18" fmla="*/ 2224 w 10012"/>
              <a:gd name="connsiteY18" fmla="*/ 2510 h 10000"/>
              <a:gd name="connsiteX19" fmla="*/ 2237 w 10012"/>
              <a:gd name="connsiteY19" fmla="*/ 1972 h 10000"/>
              <a:gd name="connsiteX20" fmla="*/ 2316 w 10012"/>
              <a:gd name="connsiteY20" fmla="*/ 2750 h 10000"/>
              <a:gd name="connsiteX21" fmla="*/ 2376 w 10012"/>
              <a:gd name="connsiteY21" fmla="*/ 2241 h 10000"/>
              <a:gd name="connsiteX22" fmla="*/ 2431 w 10012"/>
              <a:gd name="connsiteY22" fmla="*/ 2151 h 10000"/>
              <a:gd name="connsiteX23" fmla="*/ 2529 w 10012"/>
              <a:gd name="connsiteY23" fmla="*/ 1570 h 10000"/>
              <a:gd name="connsiteX24" fmla="*/ 2686 w 10012"/>
              <a:gd name="connsiteY24" fmla="*/ 1495 h 10000"/>
              <a:gd name="connsiteX25" fmla="*/ 3124 w 10012"/>
              <a:gd name="connsiteY25" fmla="*/ 1791 h 10000"/>
              <a:gd name="connsiteX26" fmla="*/ 3227 w 10012"/>
              <a:gd name="connsiteY26" fmla="*/ 2820 h 10000"/>
              <a:gd name="connsiteX27" fmla="*/ 3590 w 10012"/>
              <a:gd name="connsiteY27" fmla="*/ 2500 h 10000"/>
              <a:gd name="connsiteX28" fmla="*/ 3685 w 10012"/>
              <a:gd name="connsiteY28" fmla="*/ 1432 h 10000"/>
              <a:gd name="connsiteX29" fmla="*/ 3754 w 10012"/>
              <a:gd name="connsiteY29" fmla="*/ 1148 h 10000"/>
              <a:gd name="connsiteX30" fmla="*/ 4365 w 10012"/>
              <a:gd name="connsiteY30" fmla="*/ 6693 h 10000"/>
              <a:gd name="connsiteX31" fmla="*/ 4577 w 10012"/>
              <a:gd name="connsiteY31" fmla="*/ 6680 h 10000"/>
              <a:gd name="connsiteX32" fmla="*/ 5263 w 10012"/>
              <a:gd name="connsiteY32" fmla="*/ 766 h 10000"/>
              <a:gd name="connsiteX33" fmla="*/ 5262 w 10012"/>
              <a:gd name="connsiteY33" fmla="*/ 745 h 10000"/>
              <a:gd name="connsiteX34" fmla="*/ 5778 w 10012"/>
              <a:gd name="connsiteY34" fmla="*/ 1286 h 10000"/>
              <a:gd name="connsiteX35" fmla="*/ 5946 w 10012"/>
              <a:gd name="connsiteY35" fmla="*/ 0 h 10000"/>
              <a:gd name="connsiteX36" fmla="*/ 6493 w 10012"/>
              <a:gd name="connsiteY36" fmla="*/ 111 h 10000"/>
              <a:gd name="connsiteX37" fmla="*/ 6806 w 10012"/>
              <a:gd name="connsiteY37" fmla="*/ 42 h 10000"/>
              <a:gd name="connsiteX38" fmla="*/ 7003 w 10012"/>
              <a:gd name="connsiteY38" fmla="*/ 361 h 10000"/>
              <a:gd name="connsiteX39" fmla="*/ 7476 w 10012"/>
              <a:gd name="connsiteY39" fmla="*/ 6005 h 10000"/>
              <a:gd name="connsiteX40" fmla="*/ 8179 w 10012"/>
              <a:gd name="connsiteY40" fmla="*/ 6020 h 10000"/>
              <a:gd name="connsiteX41" fmla="*/ 8378 w 10012"/>
              <a:gd name="connsiteY41" fmla="*/ 4920 h 10000"/>
              <a:gd name="connsiteX42" fmla="*/ 8509 w 10012"/>
              <a:gd name="connsiteY42" fmla="*/ 5527 h 10000"/>
              <a:gd name="connsiteX43" fmla="*/ 8594 w 10012"/>
              <a:gd name="connsiteY43" fmla="*/ 4983 h 10000"/>
              <a:gd name="connsiteX44" fmla="*/ 8659 w 10012"/>
              <a:gd name="connsiteY44" fmla="*/ 7656 h 10000"/>
              <a:gd name="connsiteX45" fmla="*/ 8726 w 10012"/>
              <a:gd name="connsiteY45" fmla="*/ 6573 h 10000"/>
              <a:gd name="connsiteX46" fmla="*/ 8822 w 10012"/>
              <a:gd name="connsiteY46" fmla="*/ 7792 h 10000"/>
              <a:gd name="connsiteX47" fmla="*/ 8875 w 10012"/>
              <a:gd name="connsiteY47" fmla="*/ 7573 h 10000"/>
              <a:gd name="connsiteX48" fmla="*/ 8901 w 10012"/>
              <a:gd name="connsiteY48" fmla="*/ 7948 h 10000"/>
              <a:gd name="connsiteX49" fmla="*/ 8998 w 10012"/>
              <a:gd name="connsiteY49" fmla="*/ 7961 h 10000"/>
              <a:gd name="connsiteX50" fmla="*/ 9004 w 10012"/>
              <a:gd name="connsiteY50" fmla="*/ 7688 h 10000"/>
              <a:gd name="connsiteX51" fmla="*/ 9117 w 10012"/>
              <a:gd name="connsiteY51" fmla="*/ 7907 h 10000"/>
              <a:gd name="connsiteX52" fmla="*/ 9180 w 10012"/>
              <a:gd name="connsiteY52" fmla="*/ 7811 h 10000"/>
              <a:gd name="connsiteX53" fmla="*/ 9205 w 10012"/>
              <a:gd name="connsiteY53" fmla="*/ 7352 h 10000"/>
              <a:gd name="connsiteX54" fmla="*/ 9240 w 10012"/>
              <a:gd name="connsiteY54" fmla="*/ 7794 h 10000"/>
              <a:gd name="connsiteX55" fmla="*/ 9319 w 10012"/>
              <a:gd name="connsiteY55" fmla="*/ 7565 h 10000"/>
              <a:gd name="connsiteX56" fmla="*/ 9433 w 10012"/>
              <a:gd name="connsiteY56" fmla="*/ 7687 h 10000"/>
              <a:gd name="connsiteX57" fmla="*/ 9493 w 10012"/>
              <a:gd name="connsiteY57" fmla="*/ 7948 h 10000"/>
              <a:gd name="connsiteX58" fmla="*/ 9527 w 10012"/>
              <a:gd name="connsiteY58" fmla="*/ 7710 h 10000"/>
              <a:gd name="connsiteX59" fmla="*/ 9586 w 10012"/>
              <a:gd name="connsiteY59" fmla="*/ 7913 h 10000"/>
              <a:gd name="connsiteX60" fmla="*/ 9627 w 10012"/>
              <a:gd name="connsiteY60" fmla="*/ 7220 h 10000"/>
              <a:gd name="connsiteX61" fmla="*/ 9733 w 10012"/>
              <a:gd name="connsiteY61" fmla="*/ 7889 h 10000"/>
              <a:gd name="connsiteX62" fmla="*/ 9846 w 10012"/>
              <a:gd name="connsiteY62" fmla="*/ 7547 h 10000"/>
              <a:gd name="connsiteX63" fmla="*/ 9848 w 10012"/>
              <a:gd name="connsiteY63" fmla="*/ 7270 h 10000"/>
              <a:gd name="connsiteX64" fmla="*/ 9934 w 10012"/>
              <a:gd name="connsiteY64" fmla="*/ 7580 h 10000"/>
              <a:gd name="connsiteX65" fmla="*/ 10012 w 10012"/>
              <a:gd name="connsiteY6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796 w 10012"/>
              <a:gd name="connsiteY13" fmla="*/ 2373 h 10000"/>
              <a:gd name="connsiteX14" fmla="*/ 1940 w 10012"/>
              <a:gd name="connsiteY14" fmla="*/ 3319 h 10000"/>
              <a:gd name="connsiteX15" fmla="*/ 2031 w 10012"/>
              <a:gd name="connsiteY15" fmla="*/ 1480 h 10000"/>
              <a:gd name="connsiteX16" fmla="*/ 2097 w 10012"/>
              <a:gd name="connsiteY16" fmla="*/ 3547 h 10000"/>
              <a:gd name="connsiteX17" fmla="*/ 2224 w 10012"/>
              <a:gd name="connsiteY17" fmla="*/ 2510 h 10000"/>
              <a:gd name="connsiteX18" fmla="*/ 2237 w 10012"/>
              <a:gd name="connsiteY18" fmla="*/ 1972 h 10000"/>
              <a:gd name="connsiteX19" fmla="*/ 2316 w 10012"/>
              <a:gd name="connsiteY19" fmla="*/ 2750 h 10000"/>
              <a:gd name="connsiteX20" fmla="*/ 2376 w 10012"/>
              <a:gd name="connsiteY20" fmla="*/ 2241 h 10000"/>
              <a:gd name="connsiteX21" fmla="*/ 2431 w 10012"/>
              <a:gd name="connsiteY21" fmla="*/ 2151 h 10000"/>
              <a:gd name="connsiteX22" fmla="*/ 2529 w 10012"/>
              <a:gd name="connsiteY22" fmla="*/ 1570 h 10000"/>
              <a:gd name="connsiteX23" fmla="*/ 2686 w 10012"/>
              <a:gd name="connsiteY23" fmla="*/ 1495 h 10000"/>
              <a:gd name="connsiteX24" fmla="*/ 3124 w 10012"/>
              <a:gd name="connsiteY24" fmla="*/ 1791 h 10000"/>
              <a:gd name="connsiteX25" fmla="*/ 3227 w 10012"/>
              <a:gd name="connsiteY25" fmla="*/ 2820 h 10000"/>
              <a:gd name="connsiteX26" fmla="*/ 3590 w 10012"/>
              <a:gd name="connsiteY26" fmla="*/ 2500 h 10000"/>
              <a:gd name="connsiteX27" fmla="*/ 3685 w 10012"/>
              <a:gd name="connsiteY27" fmla="*/ 1432 h 10000"/>
              <a:gd name="connsiteX28" fmla="*/ 3754 w 10012"/>
              <a:gd name="connsiteY28" fmla="*/ 1148 h 10000"/>
              <a:gd name="connsiteX29" fmla="*/ 4365 w 10012"/>
              <a:gd name="connsiteY29" fmla="*/ 6693 h 10000"/>
              <a:gd name="connsiteX30" fmla="*/ 4577 w 10012"/>
              <a:gd name="connsiteY30" fmla="*/ 6680 h 10000"/>
              <a:gd name="connsiteX31" fmla="*/ 5263 w 10012"/>
              <a:gd name="connsiteY31" fmla="*/ 766 h 10000"/>
              <a:gd name="connsiteX32" fmla="*/ 5262 w 10012"/>
              <a:gd name="connsiteY32" fmla="*/ 745 h 10000"/>
              <a:gd name="connsiteX33" fmla="*/ 5778 w 10012"/>
              <a:gd name="connsiteY33" fmla="*/ 1286 h 10000"/>
              <a:gd name="connsiteX34" fmla="*/ 5946 w 10012"/>
              <a:gd name="connsiteY34" fmla="*/ 0 h 10000"/>
              <a:gd name="connsiteX35" fmla="*/ 6493 w 10012"/>
              <a:gd name="connsiteY35" fmla="*/ 111 h 10000"/>
              <a:gd name="connsiteX36" fmla="*/ 6806 w 10012"/>
              <a:gd name="connsiteY36" fmla="*/ 42 h 10000"/>
              <a:gd name="connsiteX37" fmla="*/ 7003 w 10012"/>
              <a:gd name="connsiteY37" fmla="*/ 361 h 10000"/>
              <a:gd name="connsiteX38" fmla="*/ 7476 w 10012"/>
              <a:gd name="connsiteY38" fmla="*/ 6005 h 10000"/>
              <a:gd name="connsiteX39" fmla="*/ 8179 w 10012"/>
              <a:gd name="connsiteY39" fmla="*/ 6020 h 10000"/>
              <a:gd name="connsiteX40" fmla="*/ 8378 w 10012"/>
              <a:gd name="connsiteY40" fmla="*/ 4920 h 10000"/>
              <a:gd name="connsiteX41" fmla="*/ 8509 w 10012"/>
              <a:gd name="connsiteY41" fmla="*/ 5527 h 10000"/>
              <a:gd name="connsiteX42" fmla="*/ 8594 w 10012"/>
              <a:gd name="connsiteY42" fmla="*/ 4983 h 10000"/>
              <a:gd name="connsiteX43" fmla="*/ 8659 w 10012"/>
              <a:gd name="connsiteY43" fmla="*/ 7656 h 10000"/>
              <a:gd name="connsiteX44" fmla="*/ 8726 w 10012"/>
              <a:gd name="connsiteY44" fmla="*/ 6573 h 10000"/>
              <a:gd name="connsiteX45" fmla="*/ 8822 w 10012"/>
              <a:gd name="connsiteY45" fmla="*/ 7792 h 10000"/>
              <a:gd name="connsiteX46" fmla="*/ 8875 w 10012"/>
              <a:gd name="connsiteY46" fmla="*/ 7573 h 10000"/>
              <a:gd name="connsiteX47" fmla="*/ 8901 w 10012"/>
              <a:gd name="connsiteY47" fmla="*/ 7948 h 10000"/>
              <a:gd name="connsiteX48" fmla="*/ 8998 w 10012"/>
              <a:gd name="connsiteY48" fmla="*/ 7961 h 10000"/>
              <a:gd name="connsiteX49" fmla="*/ 9004 w 10012"/>
              <a:gd name="connsiteY49" fmla="*/ 7688 h 10000"/>
              <a:gd name="connsiteX50" fmla="*/ 9117 w 10012"/>
              <a:gd name="connsiteY50" fmla="*/ 7907 h 10000"/>
              <a:gd name="connsiteX51" fmla="*/ 9180 w 10012"/>
              <a:gd name="connsiteY51" fmla="*/ 7811 h 10000"/>
              <a:gd name="connsiteX52" fmla="*/ 9205 w 10012"/>
              <a:gd name="connsiteY52" fmla="*/ 7352 h 10000"/>
              <a:gd name="connsiteX53" fmla="*/ 9240 w 10012"/>
              <a:gd name="connsiteY53" fmla="*/ 7794 h 10000"/>
              <a:gd name="connsiteX54" fmla="*/ 9319 w 10012"/>
              <a:gd name="connsiteY54" fmla="*/ 7565 h 10000"/>
              <a:gd name="connsiteX55" fmla="*/ 9433 w 10012"/>
              <a:gd name="connsiteY55" fmla="*/ 7687 h 10000"/>
              <a:gd name="connsiteX56" fmla="*/ 9493 w 10012"/>
              <a:gd name="connsiteY56" fmla="*/ 7948 h 10000"/>
              <a:gd name="connsiteX57" fmla="*/ 9527 w 10012"/>
              <a:gd name="connsiteY57" fmla="*/ 7710 h 10000"/>
              <a:gd name="connsiteX58" fmla="*/ 9586 w 10012"/>
              <a:gd name="connsiteY58" fmla="*/ 7913 h 10000"/>
              <a:gd name="connsiteX59" fmla="*/ 9627 w 10012"/>
              <a:gd name="connsiteY59" fmla="*/ 7220 h 10000"/>
              <a:gd name="connsiteX60" fmla="*/ 9733 w 10012"/>
              <a:gd name="connsiteY60" fmla="*/ 7889 h 10000"/>
              <a:gd name="connsiteX61" fmla="*/ 9846 w 10012"/>
              <a:gd name="connsiteY61" fmla="*/ 7547 h 10000"/>
              <a:gd name="connsiteX62" fmla="*/ 9848 w 10012"/>
              <a:gd name="connsiteY62" fmla="*/ 7270 h 10000"/>
              <a:gd name="connsiteX63" fmla="*/ 9934 w 10012"/>
              <a:gd name="connsiteY63" fmla="*/ 7580 h 10000"/>
              <a:gd name="connsiteX64" fmla="*/ 10012 w 10012"/>
              <a:gd name="connsiteY64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940 w 10012"/>
              <a:gd name="connsiteY13" fmla="*/ 3319 h 10000"/>
              <a:gd name="connsiteX14" fmla="*/ 2031 w 10012"/>
              <a:gd name="connsiteY14" fmla="*/ 1480 h 10000"/>
              <a:gd name="connsiteX15" fmla="*/ 2097 w 10012"/>
              <a:gd name="connsiteY15" fmla="*/ 3547 h 10000"/>
              <a:gd name="connsiteX16" fmla="*/ 2224 w 10012"/>
              <a:gd name="connsiteY16" fmla="*/ 2510 h 10000"/>
              <a:gd name="connsiteX17" fmla="*/ 2237 w 10012"/>
              <a:gd name="connsiteY17" fmla="*/ 1972 h 10000"/>
              <a:gd name="connsiteX18" fmla="*/ 2316 w 10012"/>
              <a:gd name="connsiteY18" fmla="*/ 2750 h 10000"/>
              <a:gd name="connsiteX19" fmla="*/ 2376 w 10012"/>
              <a:gd name="connsiteY19" fmla="*/ 2241 h 10000"/>
              <a:gd name="connsiteX20" fmla="*/ 2431 w 10012"/>
              <a:gd name="connsiteY20" fmla="*/ 2151 h 10000"/>
              <a:gd name="connsiteX21" fmla="*/ 2529 w 10012"/>
              <a:gd name="connsiteY21" fmla="*/ 1570 h 10000"/>
              <a:gd name="connsiteX22" fmla="*/ 2686 w 10012"/>
              <a:gd name="connsiteY22" fmla="*/ 1495 h 10000"/>
              <a:gd name="connsiteX23" fmla="*/ 3124 w 10012"/>
              <a:gd name="connsiteY23" fmla="*/ 1791 h 10000"/>
              <a:gd name="connsiteX24" fmla="*/ 3227 w 10012"/>
              <a:gd name="connsiteY24" fmla="*/ 2820 h 10000"/>
              <a:gd name="connsiteX25" fmla="*/ 3590 w 10012"/>
              <a:gd name="connsiteY25" fmla="*/ 2500 h 10000"/>
              <a:gd name="connsiteX26" fmla="*/ 3685 w 10012"/>
              <a:gd name="connsiteY26" fmla="*/ 1432 h 10000"/>
              <a:gd name="connsiteX27" fmla="*/ 3754 w 10012"/>
              <a:gd name="connsiteY27" fmla="*/ 1148 h 10000"/>
              <a:gd name="connsiteX28" fmla="*/ 4365 w 10012"/>
              <a:gd name="connsiteY28" fmla="*/ 6693 h 10000"/>
              <a:gd name="connsiteX29" fmla="*/ 4577 w 10012"/>
              <a:gd name="connsiteY29" fmla="*/ 6680 h 10000"/>
              <a:gd name="connsiteX30" fmla="*/ 5263 w 10012"/>
              <a:gd name="connsiteY30" fmla="*/ 766 h 10000"/>
              <a:gd name="connsiteX31" fmla="*/ 5262 w 10012"/>
              <a:gd name="connsiteY31" fmla="*/ 745 h 10000"/>
              <a:gd name="connsiteX32" fmla="*/ 5778 w 10012"/>
              <a:gd name="connsiteY32" fmla="*/ 1286 h 10000"/>
              <a:gd name="connsiteX33" fmla="*/ 5946 w 10012"/>
              <a:gd name="connsiteY33" fmla="*/ 0 h 10000"/>
              <a:gd name="connsiteX34" fmla="*/ 6493 w 10012"/>
              <a:gd name="connsiteY34" fmla="*/ 111 h 10000"/>
              <a:gd name="connsiteX35" fmla="*/ 6806 w 10012"/>
              <a:gd name="connsiteY35" fmla="*/ 42 h 10000"/>
              <a:gd name="connsiteX36" fmla="*/ 7003 w 10012"/>
              <a:gd name="connsiteY36" fmla="*/ 361 h 10000"/>
              <a:gd name="connsiteX37" fmla="*/ 7476 w 10012"/>
              <a:gd name="connsiteY37" fmla="*/ 6005 h 10000"/>
              <a:gd name="connsiteX38" fmla="*/ 8179 w 10012"/>
              <a:gd name="connsiteY38" fmla="*/ 6020 h 10000"/>
              <a:gd name="connsiteX39" fmla="*/ 8378 w 10012"/>
              <a:gd name="connsiteY39" fmla="*/ 4920 h 10000"/>
              <a:gd name="connsiteX40" fmla="*/ 8509 w 10012"/>
              <a:gd name="connsiteY40" fmla="*/ 5527 h 10000"/>
              <a:gd name="connsiteX41" fmla="*/ 8594 w 10012"/>
              <a:gd name="connsiteY41" fmla="*/ 4983 h 10000"/>
              <a:gd name="connsiteX42" fmla="*/ 8659 w 10012"/>
              <a:gd name="connsiteY42" fmla="*/ 7656 h 10000"/>
              <a:gd name="connsiteX43" fmla="*/ 8726 w 10012"/>
              <a:gd name="connsiteY43" fmla="*/ 6573 h 10000"/>
              <a:gd name="connsiteX44" fmla="*/ 8822 w 10012"/>
              <a:gd name="connsiteY44" fmla="*/ 7792 h 10000"/>
              <a:gd name="connsiteX45" fmla="*/ 8875 w 10012"/>
              <a:gd name="connsiteY45" fmla="*/ 7573 h 10000"/>
              <a:gd name="connsiteX46" fmla="*/ 8901 w 10012"/>
              <a:gd name="connsiteY46" fmla="*/ 7948 h 10000"/>
              <a:gd name="connsiteX47" fmla="*/ 8998 w 10012"/>
              <a:gd name="connsiteY47" fmla="*/ 7961 h 10000"/>
              <a:gd name="connsiteX48" fmla="*/ 9004 w 10012"/>
              <a:gd name="connsiteY48" fmla="*/ 7688 h 10000"/>
              <a:gd name="connsiteX49" fmla="*/ 9117 w 10012"/>
              <a:gd name="connsiteY49" fmla="*/ 7907 h 10000"/>
              <a:gd name="connsiteX50" fmla="*/ 9180 w 10012"/>
              <a:gd name="connsiteY50" fmla="*/ 7811 h 10000"/>
              <a:gd name="connsiteX51" fmla="*/ 9205 w 10012"/>
              <a:gd name="connsiteY51" fmla="*/ 7352 h 10000"/>
              <a:gd name="connsiteX52" fmla="*/ 9240 w 10012"/>
              <a:gd name="connsiteY52" fmla="*/ 7794 h 10000"/>
              <a:gd name="connsiteX53" fmla="*/ 9319 w 10012"/>
              <a:gd name="connsiteY53" fmla="*/ 7565 h 10000"/>
              <a:gd name="connsiteX54" fmla="*/ 9433 w 10012"/>
              <a:gd name="connsiteY54" fmla="*/ 7687 h 10000"/>
              <a:gd name="connsiteX55" fmla="*/ 9493 w 10012"/>
              <a:gd name="connsiteY55" fmla="*/ 7948 h 10000"/>
              <a:gd name="connsiteX56" fmla="*/ 9527 w 10012"/>
              <a:gd name="connsiteY56" fmla="*/ 7710 h 10000"/>
              <a:gd name="connsiteX57" fmla="*/ 9586 w 10012"/>
              <a:gd name="connsiteY57" fmla="*/ 7913 h 10000"/>
              <a:gd name="connsiteX58" fmla="*/ 9627 w 10012"/>
              <a:gd name="connsiteY58" fmla="*/ 7220 h 10000"/>
              <a:gd name="connsiteX59" fmla="*/ 9733 w 10012"/>
              <a:gd name="connsiteY59" fmla="*/ 7889 h 10000"/>
              <a:gd name="connsiteX60" fmla="*/ 9846 w 10012"/>
              <a:gd name="connsiteY60" fmla="*/ 7547 h 10000"/>
              <a:gd name="connsiteX61" fmla="*/ 9848 w 10012"/>
              <a:gd name="connsiteY61" fmla="*/ 7270 h 10000"/>
              <a:gd name="connsiteX62" fmla="*/ 9934 w 10012"/>
              <a:gd name="connsiteY62" fmla="*/ 7580 h 10000"/>
              <a:gd name="connsiteX63" fmla="*/ 10012 w 10012"/>
              <a:gd name="connsiteY63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2031 w 10012"/>
              <a:gd name="connsiteY13" fmla="*/ 1480 h 10000"/>
              <a:gd name="connsiteX14" fmla="*/ 2097 w 10012"/>
              <a:gd name="connsiteY14" fmla="*/ 3547 h 10000"/>
              <a:gd name="connsiteX15" fmla="*/ 2224 w 10012"/>
              <a:gd name="connsiteY15" fmla="*/ 2510 h 10000"/>
              <a:gd name="connsiteX16" fmla="*/ 2237 w 10012"/>
              <a:gd name="connsiteY16" fmla="*/ 1972 h 10000"/>
              <a:gd name="connsiteX17" fmla="*/ 2316 w 10012"/>
              <a:gd name="connsiteY17" fmla="*/ 2750 h 10000"/>
              <a:gd name="connsiteX18" fmla="*/ 2376 w 10012"/>
              <a:gd name="connsiteY18" fmla="*/ 2241 h 10000"/>
              <a:gd name="connsiteX19" fmla="*/ 2431 w 10012"/>
              <a:gd name="connsiteY19" fmla="*/ 2151 h 10000"/>
              <a:gd name="connsiteX20" fmla="*/ 2529 w 10012"/>
              <a:gd name="connsiteY20" fmla="*/ 1570 h 10000"/>
              <a:gd name="connsiteX21" fmla="*/ 2686 w 10012"/>
              <a:gd name="connsiteY21" fmla="*/ 1495 h 10000"/>
              <a:gd name="connsiteX22" fmla="*/ 3124 w 10012"/>
              <a:gd name="connsiteY22" fmla="*/ 1791 h 10000"/>
              <a:gd name="connsiteX23" fmla="*/ 3227 w 10012"/>
              <a:gd name="connsiteY23" fmla="*/ 2820 h 10000"/>
              <a:gd name="connsiteX24" fmla="*/ 3590 w 10012"/>
              <a:gd name="connsiteY24" fmla="*/ 2500 h 10000"/>
              <a:gd name="connsiteX25" fmla="*/ 3685 w 10012"/>
              <a:gd name="connsiteY25" fmla="*/ 1432 h 10000"/>
              <a:gd name="connsiteX26" fmla="*/ 3754 w 10012"/>
              <a:gd name="connsiteY26" fmla="*/ 1148 h 10000"/>
              <a:gd name="connsiteX27" fmla="*/ 4365 w 10012"/>
              <a:gd name="connsiteY27" fmla="*/ 6693 h 10000"/>
              <a:gd name="connsiteX28" fmla="*/ 4577 w 10012"/>
              <a:gd name="connsiteY28" fmla="*/ 6680 h 10000"/>
              <a:gd name="connsiteX29" fmla="*/ 5263 w 10012"/>
              <a:gd name="connsiteY29" fmla="*/ 766 h 10000"/>
              <a:gd name="connsiteX30" fmla="*/ 5262 w 10012"/>
              <a:gd name="connsiteY30" fmla="*/ 745 h 10000"/>
              <a:gd name="connsiteX31" fmla="*/ 5778 w 10012"/>
              <a:gd name="connsiteY31" fmla="*/ 1286 h 10000"/>
              <a:gd name="connsiteX32" fmla="*/ 5946 w 10012"/>
              <a:gd name="connsiteY32" fmla="*/ 0 h 10000"/>
              <a:gd name="connsiteX33" fmla="*/ 6493 w 10012"/>
              <a:gd name="connsiteY33" fmla="*/ 111 h 10000"/>
              <a:gd name="connsiteX34" fmla="*/ 6806 w 10012"/>
              <a:gd name="connsiteY34" fmla="*/ 42 h 10000"/>
              <a:gd name="connsiteX35" fmla="*/ 7003 w 10012"/>
              <a:gd name="connsiteY35" fmla="*/ 361 h 10000"/>
              <a:gd name="connsiteX36" fmla="*/ 7476 w 10012"/>
              <a:gd name="connsiteY36" fmla="*/ 6005 h 10000"/>
              <a:gd name="connsiteX37" fmla="*/ 8179 w 10012"/>
              <a:gd name="connsiteY37" fmla="*/ 6020 h 10000"/>
              <a:gd name="connsiteX38" fmla="*/ 8378 w 10012"/>
              <a:gd name="connsiteY38" fmla="*/ 4920 h 10000"/>
              <a:gd name="connsiteX39" fmla="*/ 8509 w 10012"/>
              <a:gd name="connsiteY39" fmla="*/ 5527 h 10000"/>
              <a:gd name="connsiteX40" fmla="*/ 8594 w 10012"/>
              <a:gd name="connsiteY40" fmla="*/ 4983 h 10000"/>
              <a:gd name="connsiteX41" fmla="*/ 8659 w 10012"/>
              <a:gd name="connsiteY41" fmla="*/ 7656 h 10000"/>
              <a:gd name="connsiteX42" fmla="*/ 8726 w 10012"/>
              <a:gd name="connsiteY42" fmla="*/ 6573 h 10000"/>
              <a:gd name="connsiteX43" fmla="*/ 8822 w 10012"/>
              <a:gd name="connsiteY43" fmla="*/ 7792 h 10000"/>
              <a:gd name="connsiteX44" fmla="*/ 8875 w 10012"/>
              <a:gd name="connsiteY44" fmla="*/ 7573 h 10000"/>
              <a:gd name="connsiteX45" fmla="*/ 8901 w 10012"/>
              <a:gd name="connsiteY45" fmla="*/ 7948 h 10000"/>
              <a:gd name="connsiteX46" fmla="*/ 8998 w 10012"/>
              <a:gd name="connsiteY46" fmla="*/ 7961 h 10000"/>
              <a:gd name="connsiteX47" fmla="*/ 9004 w 10012"/>
              <a:gd name="connsiteY47" fmla="*/ 7688 h 10000"/>
              <a:gd name="connsiteX48" fmla="*/ 9117 w 10012"/>
              <a:gd name="connsiteY48" fmla="*/ 7907 h 10000"/>
              <a:gd name="connsiteX49" fmla="*/ 9180 w 10012"/>
              <a:gd name="connsiteY49" fmla="*/ 7811 h 10000"/>
              <a:gd name="connsiteX50" fmla="*/ 9205 w 10012"/>
              <a:gd name="connsiteY50" fmla="*/ 7352 h 10000"/>
              <a:gd name="connsiteX51" fmla="*/ 9240 w 10012"/>
              <a:gd name="connsiteY51" fmla="*/ 7794 h 10000"/>
              <a:gd name="connsiteX52" fmla="*/ 9319 w 10012"/>
              <a:gd name="connsiteY52" fmla="*/ 7565 h 10000"/>
              <a:gd name="connsiteX53" fmla="*/ 9433 w 10012"/>
              <a:gd name="connsiteY53" fmla="*/ 7687 h 10000"/>
              <a:gd name="connsiteX54" fmla="*/ 9493 w 10012"/>
              <a:gd name="connsiteY54" fmla="*/ 7948 h 10000"/>
              <a:gd name="connsiteX55" fmla="*/ 9527 w 10012"/>
              <a:gd name="connsiteY55" fmla="*/ 7710 h 10000"/>
              <a:gd name="connsiteX56" fmla="*/ 9586 w 10012"/>
              <a:gd name="connsiteY56" fmla="*/ 7913 h 10000"/>
              <a:gd name="connsiteX57" fmla="*/ 9627 w 10012"/>
              <a:gd name="connsiteY57" fmla="*/ 7220 h 10000"/>
              <a:gd name="connsiteX58" fmla="*/ 9733 w 10012"/>
              <a:gd name="connsiteY58" fmla="*/ 7889 h 10000"/>
              <a:gd name="connsiteX59" fmla="*/ 9846 w 10012"/>
              <a:gd name="connsiteY59" fmla="*/ 7547 h 10000"/>
              <a:gd name="connsiteX60" fmla="*/ 9848 w 10012"/>
              <a:gd name="connsiteY60" fmla="*/ 7270 h 10000"/>
              <a:gd name="connsiteX61" fmla="*/ 9934 w 10012"/>
              <a:gd name="connsiteY61" fmla="*/ 7580 h 10000"/>
              <a:gd name="connsiteX62" fmla="*/ 10012 w 10012"/>
              <a:gd name="connsiteY62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67 w 10012"/>
              <a:gd name="connsiteY11" fmla="*/ 1750 h 10000"/>
              <a:gd name="connsiteX12" fmla="*/ 2031 w 10012"/>
              <a:gd name="connsiteY12" fmla="*/ 1480 h 10000"/>
              <a:gd name="connsiteX13" fmla="*/ 2097 w 10012"/>
              <a:gd name="connsiteY13" fmla="*/ 3547 h 10000"/>
              <a:gd name="connsiteX14" fmla="*/ 2224 w 10012"/>
              <a:gd name="connsiteY14" fmla="*/ 2510 h 10000"/>
              <a:gd name="connsiteX15" fmla="*/ 2237 w 10012"/>
              <a:gd name="connsiteY15" fmla="*/ 1972 h 10000"/>
              <a:gd name="connsiteX16" fmla="*/ 2316 w 10012"/>
              <a:gd name="connsiteY16" fmla="*/ 2750 h 10000"/>
              <a:gd name="connsiteX17" fmla="*/ 2376 w 10012"/>
              <a:gd name="connsiteY17" fmla="*/ 2241 h 10000"/>
              <a:gd name="connsiteX18" fmla="*/ 2431 w 10012"/>
              <a:gd name="connsiteY18" fmla="*/ 2151 h 10000"/>
              <a:gd name="connsiteX19" fmla="*/ 2529 w 10012"/>
              <a:gd name="connsiteY19" fmla="*/ 1570 h 10000"/>
              <a:gd name="connsiteX20" fmla="*/ 2686 w 10012"/>
              <a:gd name="connsiteY20" fmla="*/ 1495 h 10000"/>
              <a:gd name="connsiteX21" fmla="*/ 3124 w 10012"/>
              <a:gd name="connsiteY21" fmla="*/ 1791 h 10000"/>
              <a:gd name="connsiteX22" fmla="*/ 3227 w 10012"/>
              <a:gd name="connsiteY22" fmla="*/ 2820 h 10000"/>
              <a:gd name="connsiteX23" fmla="*/ 3590 w 10012"/>
              <a:gd name="connsiteY23" fmla="*/ 2500 h 10000"/>
              <a:gd name="connsiteX24" fmla="*/ 3685 w 10012"/>
              <a:gd name="connsiteY24" fmla="*/ 1432 h 10000"/>
              <a:gd name="connsiteX25" fmla="*/ 3754 w 10012"/>
              <a:gd name="connsiteY25" fmla="*/ 1148 h 10000"/>
              <a:gd name="connsiteX26" fmla="*/ 4365 w 10012"/>
              <a:gd name="connsiteY26" fmla="*/ 6693 h 10000"/>
              <a:gd name="connsiteX27" fmla="*/ 4577 w 10012"/>
              <a:gd name="connsiteY27" fmla="*/ 6680 h 10000"/>
              <a:gd name="connsiteX28" fmla="*/ 5263 w 10012"/>
              <a:gd name="connsiteY28" fmla="*/ 766 h 10000"/>
              <a:gd name="connsiteX29" fmla="*/ 5262 w 10012"/>
              <a:gd name="connsiteY29" fmla="*/ 745 h 10000"/>
              <a:gd name="connsiteX30" fmla="*/ 5778 w 10012"/>
              <a:gd name="connsiteY30" fmla="*/ 1286 h 10000"/>
              <a:gd name="connsiteX31" fmla="*/ 5946 w 10012"/>
              <a:gd name="connsiteY31" fmla="*/ 0 h 10000"/>
              <a:gd name="connsiteX32" fmla="*/ 6493 w 10012"/>
              <a:gd name="connsiteY32" fmla="*/ 111 h 10000"/>
              <a:gd name="connsiteX33" fmla="*/ 6806 w 10012"/>
              <a:gd name="connsiteY33" fmla="*/ 42 h 10000"/>
              <a:gd name="connsiteX34" fmla="*/ 7003 w 10012"/>
              <a:gd name="connsiteY34" fmla="*/ 361 h 10000"/>
              <a:gd name="connsiteX35" fmla="*/ 7476 w 10012"/>
              <a:gd name="connsiteY35" fmla="*/ 6005 h 10000"/>
              <a:gd name="connsiteX36" fmla="*/ 8179 w 10012"/>
              <a:gd name="connsiteY36" fmla="*/ 6020 h 10000"/>
              <a:gd name="connsiteX37" fmla="*/ 8378 w 10012"/>
              <a:gd name="connsiteY37" fmla="*/ 4920 h 10000"/>
              <a:gd name="connsiteX38" fmla="*/ 8509 w 10012"/>
              <a:gd name="connsiteY38" fmla="*/ 5527 h 10000"/>
              <a:gd name="connsiteX39" fmla="*/ 8594 w 10012"/>
              <a:gd name="connsiteY39" fmla="*/ 4983 h 10000"/>
              <a:gd name="connsiteX40" fmla="*/ 8659 w 10012"/>
              <a:gd name="connsiteY40" fmla="*/ 7656 h 10000"/>
              <a:gd name="connsiteX41" fmla="*/ 8726 w 10012"/>
              <a:gd name="connsiteY41" fmla="*/ 6573 h 10000"/>
              <a:gd name="connsiteX42" fmla="*/ 8822 w 10012"/>
              <a:gd name="connsiteY42" fmla="*/ 7792 h 10000"/>
              <a:gd name="connsiteX43" fmla="*/ 8875 w 10012"/>
              <a:gd name="connsiteY43" fmla="*/ 7573 h 10000"/>
              <a:gd name="connsiteX44" fmla="*/ 8901 w 10012"/>
              <a:gd name="connsiteY44" fmla="*/ 7948 h 10000"/>
              <a:gd name="connsiteX45" fmla="*/ 8998 w 10012"/>
              <a:gd name="connsiteY45" fmla="*/ 7961 h 10000"/>
              <a:gd name="connsiteX46" fmla="*/ 9004 w 10012"/>
              <a:gd name="connsiteY46" fmla="*/ 7688 h 10000"/>
              <a:gd name="connsiteX47" fmla="*/ 9117 w 10012"/>
              <a:gd name="connsiteY47" fmla="*/ 7907 h 10000"/>
              <a:gd name="connsiteX48" fmla="*/ 9180 w 10012"/>
              <a:gd name="connsiteY48" fmla="*/ 7811 h 10000"/>
              <a:gd name="connsiteX49" fmla="*/ 9205 w 10012"/>
              <a:gd name="connsiteY49" fmla="*/ 7352 h 10000"/>
              <a:gd name="connsiteX50" fmla="*/ 9240 w 10012"/>
              <a:gd name="connsiteY50" fmla="*/ 7794 h 10000"/>
              <a:gd name="connsiteX51" fmla="*/ 9319 w 10012"/>
              <a:gd name="connsiteY51" fmla="*/ 7565 h 10000"/>
              <a:gd name="connsiteX52" fmla="*/ 9433 w 10012"/>
              <a:gd name="connsiteY52" fmla="*/ 7687 h 10000"/>
              <a:gd name="connsiteX53" fmla="*/ 9493 w 10012"/>
              <a:gd name="connsiteY53" fmla="*/ 7948 h 10000"/>
              <a:gd name="connsiteX54" fmla="*/ 9527 w 10012"/>
              <a:gd name="connsiteY54" fmla="*/ 7710 h 10000"/>
              <a:gd name="connsiteX55" fmla="*/ 9586 w 10012"/>
              <a:gd name="connsiteY55" fmla="*/ 7913 h 10000"/>
              <a:gd name="connsiteX56" fmla="*/ 9627 w 10012"/>
              <a:gd name="connsiteY56" fmla="*/ 7220 h 10000"/>
              <a:gd name="connsiteX57" fmla="*/ 9733 w 10012"/>
              <a:gd name="connsiteY57" fmla="*/ 7889 h 10000"/>
              <a:gd name="connsiteX58" fmla="*/ 9846 w 10012"/>
              <a:gd name="connsiteY58" fmla="*/ 7547 h 10000"/>
              <a:gd name="connsiteX59" fmla="*/ 9848 w 10012"/>
              <a:gd name="connsiteY59" fmla="*/ 7270 h 10000"/>
              <a:gd name="connsiteX60" fmla="*/ 9934 w 10012"/>
              <a:gd name="connsiteY60" fmla="*/ 7580 h 10000"/>
              <a:gd name="connsiteX61" fmla="*/ 10012 w 10012"/>
              <a:gd name="connsiteY61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367 w 10012"/>
              <a:gd name="connsiteY10" fmla="*/ 1750 h 10000"/>
              <a:gd name="connsiteX11" fmla="*/ 2031 w 10012"/>
              <a:gd name="connsiteY11" fmla="*/ 1480 h 10000"/>
              <a:gd name="connsiteX12" fmla="*/ 2097 w 10012"/>
              <a:gd name="connsiteY12" fmla="*/ 3547 h 10000"/>
              <a:gd name="connsiteX13" fmla="*/ 2224 w 10012"/>
              <a:gd name="connsiteY13" fmla="*/ 2510 h 10000"/>
              <a:gd name="connsiteX14" fmla="*/ 2237 w 10012"/>
              <a:gd name="connsiteY14" fmla="*/ 1972 h 10000"/>
              <a:gd name="connsiteX15" fmla="*/ 2316 w 10012"/>
              <a:gd name="connsiteY15" fmla="*/ 2750 h 10000"/>
              <a:gd name="connsiteX16" fmla="*/ 2376 w 10012"/>
              <a:gd name="connsiteY16" fmla="*/ 2241 h 10000"/>
              <a:gd name="connsiteX17" fmla="*/ 2431 w 10012"/>
              <a:gd name="connsiteY17" fmla="*/ 2151 h 10000"/>
              <a:gd name="connsiteX18" fmla="*/ 2529 w 10012"/>
              <a:gd name="connsiteY18" fmla="*/ 1570 h 10000"/>
              <a:gd name="connsiteX19" fmla="*/ 2686 w 10012"/>
              <a:gd name="connsiteY19" fmla="*/ 1495 h 10000"/>
              <a:gd name="connsiteX20" fmla="*/ 3124 w 10012"/>
              <a:gd name="connsiteY20" fmla="*/ 1791 h 10000"/>
              <a:gd name="connsiteX21" fmla="*/ 3227 w 10012"/>
              <a:gd name="connsiteY21" fmla="*/ 2820 h 10000"/>
              <a:gd name="connsiteX22" fmla="*/ 3590 w 10012"/>
              <a:gd name="connsiteY22" fmla="*/ 2500 h 10000"/>
              <a:gd name="connsiteX23" fmla="*/ 3685 w 10012"/>
              <a:gd name="connsiteY23" fmla="*/ 1432 h 10000"/>
              <a:gd name="connsiteX24" fmla="*/ 3754 w 10012"/>
              <a:gd name="connsiteY24" fmla="*/ 1148 h 10000"/>
              <a:gd name="connsiteX25" fmla="*/ 4365 w 10012"/>
              <a:gd name="connsiteY25" fmla="*/ 6693 h 10000"/>
              <a:gd name="connsiteX26" fmla="*/ 4577 w 10012"/>
              <a:gd name="connsiteY26" fmla="*/ 6680 h 10000"/>
              <a:gd name="connsiteX27" fmla="*/ 5263 w 10012"/>
              <a:gd name="connsiteY27" fmla="*/ 766 h 10000"/>
              <a:gd name="connsiteX28" fmla="*/ 5262 w 10012"/>
              <a:gd name="connsiteY28" fmla="*/ 745 h 10000"/>
              <a:gd name="connsiteX29" fmla="*/ 5778 w 10012"/>
              <a:gd name="connsiteY29" fmla="*/ 1286 h 10000"/>
              <a:gd name="connsiteX30" fmla="*/ 5946 w 10012"/>
              <a:gd name="connsiteY30" fmla="*/ 0 h 10000"/>
              <a:gd name="connsiteX31" fmla="*/ 6493 w 10012"/>
              <a:gd name="connsiteY31" fmla="*/ 111 h 10000"/>
              <a:gd name="connsiteX32" fmla="*/ 6806 w 10012"/>
              <a:gd name="connsiteY32" fmla="*/ 42 h 10000"/>
              <a:gd name="connsiteX33" fmla="*/ 7003 w 10012"/>
              <a:gd name="connsiteY33" fmla="*/ 361 h 10000"/>
              <a:gd name="connsiteX34" fmla="*/ 7476 w 10012"/>
              <a:gd name="connsiteY34" fmla="*/ 6005 h 10000"/>
              <a:gd name="connsiteX35" fmla="*/ 8179 w 10012"/>
              <a:gd name="connsiteY35" fmla="*/ 6020 h 10000"/>
              <a:gd name="connsiteX36" fmla="*/ 8378 w 10012"/>
              <a:gd name="connsiteY36" fmla="*/ 4920 h 10000"/>
              <a:gd name="connsiteX37" fmla="*/ 8509 w 10012"/>
              <a:gd name="connsiteY37" fmla="*/ 5527 h 10000"/>
              <a:gd name="connsiteX38" fmla="*/ 8594 w 10012"/>
              <a:gd name="connsiteY38" fmla="*/ 4983 h 10000"/>
              <a:gd name="connsiteX39" fmla="*/ 8659 w 10012"/>
              <a:gd name="connsiteY39" fmla="*/ 7656 h 10000"/>
              <a:gd name="connsiteX40" fmla="*/ 8726 w 10012"/>
              <a:gd name="connsiteY40" fmla="*/ 6573 h 10000"/>
              <a:gd name="connsiteX41" fmla="*/ 8822 w 10012"/>
              <a:gd name="connsiteY41" fmla="*/ 7792 h 10000"/>
              <a:gd name="connsiteX42" fmla="*/ 8875 w 10012"/>
              <a:gd name="connsiteY42" fmla="*/ 7573 h 10000"/>
              <a:gd name="connsiteX43" fmla="*/ 8901 w 10012"/>
              <a:gd name="connsiteY43" fmla="*/ 7948 h 10000"/>
              <a:gd name="connsiteX44" fmla="*/ 8998 w 10012"/>
              <a:gd name="connsiteY44" fmla="*/ 7961 h 10000"/>
              <a:gd name="connsiteX45" fmla="*/ 9004 w 10012"/>
              <a:gd name="connsiteY45" fmla="*/ 7688 h 10000"/>
              <a:gd name="connsiteX46" fmla="*/ 9117 w 10012"/>
              <a:gd name="connsiteY46" fmla="*/ 7907 h 10000"/>
              <a:gd name="connsiteX47" fmla="*/ 9180 w 10012"/>
              <a:gd name="connsiteY47" fmla="*/ 7811 h 10000"/>
              <a:gd name="connsiteX48" fmla="*/ 9205 w 10012"/>
              <a:gd name="connsiteY48" fmla="*/ 7352 h 10000"/>
              <a:gd name="connsiteX49" fmla="*/ 9240 w 10012"/>
              <a:gd name="connsiteY49" fmla="*/ 7794 h 10000"/>
              <a:gd name="connsiteX50" fmla="*/ 9319 w 10012"/>
              <a:gd name="connsiteY50" fmla="*/ 7565 h 10000"/>
              <a:gd name="connsiteX51" fmla="*/ 9433 w 10012"/>
              <a:gd name="connsiteY51" fmla="*/ 7687 h 10000"/>
              <a:gd name="connsiteX52" fmla="*/ 9493 w 10012"/>
              <a:gd name="connsiteY52" fmla="*/ 7948 h 10000"/>
              <a:gd name="connsiteX53" fmla="*/ 9527 w 10012"/>
              <a:gd name="connsiteY53" fmla="*/ 7710 h 10000"/>
              <a:gd name="connsiteX54" fmla="*/ 9586 w 10012"/>
              <a:gd name="connsiteY54" fmla="*/ 7913 h 10000"/>
              <a:gd name="connsiteX55" fmla="*/ 9627 w 10012"/>
              <a:gd name="connsiteY55" fmla="*/ 7220 h 10000"/>
              <a:gd name="connsiteX56" fmla="*/ 9733 w 10012"/>
              <a:gd name="connsiteY56" fmla="*/ 7889 h 10000"/>
              <a:gd name="connsiteX57" fmla="*/ 9846 w 10012"/>
              <a:gd name="connsiteY57" fmla="*/ 7547 h 10000"/>
              <a:gd name="connsiteX58" fmla="*/ 9848 w 10012"/>
              <a:gd name="connsiteY58" fmla="*/ 7270 h 10000"/>
              <a:gd name="connsiteX59" fmla="*/ 9934 w 10012"/>
              <a:gd name="connsiteY59" fmla="*/ 7580 h 10000"/>
              <a:gd name="connsiteX60" fmla="*/ 10012 w 10012"/>
              <a:gd name="connsiteY60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367 w 10012"/>
              <a:gd name="connsiteY9" fmla="*/ 1750 h 10000"/>
              <a:gd name="connsiteX10" fmla="*/ 2031 w 10012"/>
              <a:gd name="connsiteY10" fmla="*/ 1480 h 10000"/>
              <a:gd name="connsiteX11" fmla="*/ 2097 w 10012"/>
              <a:gd name="connsiteY11" fmla="*/ 3547 h 10000"/>
              <a:gd name="connsiteX12" fmla="*/ 2224 w 10012"/>
              <a:gd name="connsiteY12" fmla="*/ 2510 h 10000"/>
              <a:gd name="connsiteX13" fmla="*/ 2237 w 10012"/>
              <a:gd name="connsiteY13" fmla="*/ 1972 h 10000"/>
              <a:gd name="connsiteX14" fmla="*/ 2316 w 10012"/>
              <a:gd name="connsiteY14" fmla="*/ 2750 h 10000"/>
              <a:gd name="connsiteX15" fmla="*/ 2376 w 10012"/>
              <a:gd name="connsiteY15" fmla="*/ 2241 h 10000"/>
              <a:gd name="connsiteX16" fmla="*/ 2431 w 10012"/>
              <a:gd name="connsiteY16" fmla="*/ 2151 h 10000"/>
              <a:gd name="connsiteX17" fmla="*/ 2529 w 10012"/>
              <a:gd name="connsiteY17" fmla="*/ 1570 h 10000"/>
              <a:gd name="connsiteX18" fmla="*/ 2686 w 10012"/>
              <a:gd name="connsiteY18" fmla="*/ 1495 h 10000"/>
              <a:gd name="connsiteX19" fmla="*/ 3124 w 10012"/>
              <a:gd name="connsiteY19" fmla="*/ 1791 h 10000"/>
              <a:gd name="connsiteX20" fmla="*/ 3227 w 10012"/>
              <a:gd name="connsiteY20" fmla="*/ 2820 h 10000"/>
              <a:gd name="connsiteX21" fmla="*/ 3590 w 10012"/>
              <a:gd name="connsiteY21" fmla="*/ 2500 h 10000"/>
              <a:gd name="connsiteX22" fmla="*/ 3685 w 10012"/>
              <a:gd name="connsiteY22" fmla="*/ 1432 h 10000"/>
              <a:gd name="connsiteX23" fmla="*/ 3754 w 10012"/>
              <a:gd name="connsiteY23" fmla="*/ 1148 h 10000"/>
              <a:gd name="connsiteX24" fmla="*/ 4365 w 10012"/>
              <a:gd name="connsiteY24" fmla="*/ 6693 h 10000"/>
              <a:gd name="connsiteX25" fmla="*/ 4577 w 10012"/>
              <a:gd name="connsiteY25" fmla="*/ 6680 h 10000"/>
              <a:gd name="connsiteX26" fmla="*/ 5263 w 10012"/>
              <a:gd name="connsiteY26" fmla="*/ 766 h 10000"/>
              <a:gd name="connsiteX27" fmla="*/ 5262 w 10012"/>
              <a:gd name="connsiteY27" fmla="*/ 745 h 10000"/>
              <a:gd name="connsiteX28" fmla="*/ 5778 w 10012"/>
              <a:gd name="connsiteY28" fmla="*/ 1286 h 10000"/>
              <a:gd name="connsiteX29" fmla="*/ 5946 w 10012"/>
              <a:gd name="connsiteY29" fmla="*/ 0 h 10000"/>
              <a:gd name="connsiteX30" fmla="*/ 6493 w 10012"/>
              <a:gd name="connsiteY30" fmla="*/ 111 h 10000"/>
              <a:gd name="connsiteX31" fmla="*/ 6806 w 10012"/>
              <a:gd name="connsiteY31" fmla="*/ 42 h 10000"/>
              <a:gd name="connsiteX32" fmla="*/ 7003 w 10012"/>
              <a:gd name="connsiteY32" fmla="*/ 361 h 10000"/>
              <a:gd name="connsiteX33" fmla="*/ 7476 w 10012"/>
              <a:gd name="connsiteY33" fmla="*/ 6005 h 10000"/>
              <a:gd name="connsiteX34" fmla="*/ 8179 w 10012"/>
              <a:gd name="connsiteY34" fmla="*/ 6020 h 10000"/>
              <a:gd name="connsiteX35" fmla="*/ 8378 w 10012"/>
              <a:gd name="connsiteY35" fmla="*/ 4920 h 10000"/>
              <a:gd name="connsiteX36" fmla="*/ 8509 w 10012"/>
              <a:gd name="connsiteY36" fmla="*/ 5527 h 10000"/>
              <a:gd name="connsiteX37" fmla="*/ 8594 w 10012"/>
              <a:gd name="connsiteY37" fmla="*/ 4983 h 10000"/>
              <a:gd name="connsiteX38" fmla="*/ 8659 w 10012"/>
              <a:gd name="connsiteY38" fmla="*/ 7656 h 10000"/>
              <a:gd name="connsiteX39" fmla="*/ 8726 w 10012"/>
              <a:gd name="connsiteY39" fmla="*/ 6573 h 10000"/>
              <a:gd name="connsiteX40" fmla="*/ 8822 w 10012"/>
              <a:gd name="connsiteY40" fmla="*/ 7792 h 10000"/>
              <a:gd name="connsiteX41" fmla="*/ 8875 w 10012"/>
              <a:gd name="connsiteY41" fmla="*/ 7573 h 10000"/>
              <a:gd name="connsiteX42" fmla="*/ 8901 w 10012"/>
              <a:gd name="connsiteY42" fmla="*/ 7948 h 10000"/>
              <a:gd name="connsiteX43" fmla="*/ 8998 w 10012"/>
              <a:gd name="connsiteY43" fmla="*/ 7961 h 10000"/>
              <a:gd name="connsiteX44" fmla="*/ 9004 w 10012"/>
              <a:gd name="connsiteY44" fmla="*/ 7688 h 10000"/>
              <a:gd name="connsiteX45" fmla="*/ 9117 w 10012"/>
              <a:gd name="connsiteY45" fmla="*/ 7907 h 10000"/>
              <a:gd name="connsiteX46" fmla="*/ 9180 w 10012"/>
              <a:gd name="connsiteY46" fmla="*/ 7811 h 10000"/>
              <a:gd name="connsiteX47" fmla="*/ 9205 w 10012"/>
              <a:gd name="connsiteY47" fmla="*/ 7352 h 10000"/>
              <a:gd name="connsiteX48" fmla="*/ 9240 w 10012"/>
              <a:gd name="connsiteY48" fmla="*/ 7794 h 10000"/>
              <a:gd name="connsiteX49" fmla="*/ 9319 w 10012"/>
              <a:gd name="connsiteY49" fmla="*/ 7565 h 10000"/>
              <a:gd name="connsiteX50" fmla="*/ 9433 w 10012"/>
              <a:gd name="connsiteY50" fmla="*/ 7687 h 10000"/>
              <a:gd name="connsiteX51" fmla="*/ 9493 w 10012"/>
              <a:gd name="connsiteY51" fmla="*/ 7948 h 10000"/>
              <a:gd name="connsiteX52" fmla="*/ 9527 w 10012"/>
              <a:gd name="connsiteY52" fmla="*/ 7710 h 10000"/>
              <a:gd name="connsiteX53" fmla="*/ 9586 w 10012"/>
              <a:gd name="connsiteY53" fmla="*/ 7913 h 10000"/>
              <a:gd name="connsiteX54" fmla="*/ 9627 w 10012"/>
              <a:gd name="connsiteY54" fmla="*/ 7220 h 10000"/>
              <a:gd name="connsiteX55" fmla="*/ 9733 w 10012"/>
              <a:gd name="connsiteY55" fmla="*/ 7889 h 10000"/>
              <a:gd name="connsiteX56" fmla="*/ 9846 w 10012"/>
              <a:gd name="connsiteY56" fmla="*/ 7547 h 10000"/>
              <a:gd name="connsiteX57" fmla="*/ 9848 w 10012"/>
              <a:gd name="connsiteY57" fmla="*/ 7270 h 10000"/>
              <a:gd name="connsiteX58" fmla="*/ 9934 w 10012"/>
              <a:gd name="connsiteY58" fmla="*/ 7580 h 10000"/>
              <a:gd name="connsiteX59" fmla="*/ 10012 w 10012"/>
              <a:gd name="connsiteY59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228 w 10012"/>
              <a:gd name="connsiteY7" fmla="*/ 1301 h 10000"/>
              <a:gd name="connsiteX8" fmla="*/ 1367 w 10012"/>
              <a:gd name="connsiteY8" fmla="*/ 1750 h 10000"/>
              <a:gd name="connsiteX9" fmla="*/ 2031 w 10012"/>
              <a:gd name="connsiteY9" fmla="*/ 1480 h 10000"/>
              <a:gd name="connsiteX10" fmla="*/ 2097 w 10012"/>
              <a:gd name="connsiteY10" fmla="*/ 3547 h 10000"/>
              <a:gd name="connsiteX11" fmla="*/ 2224 w 10012"/>
              <a:gd name="connsiteY11" fmla="*/ 2510 h 10000"/>
              <a:gd name="connsiteX12" fmla="*/ 2237 w 10012"/>
              <a:gd name="connsiteY12" fmla="*/ 1972 h 10000"/>
              <a:gd name="connsiteX13" fmla="*/ 2316 w 10012"/>
              <a:gd name="connsiteY13" fmla="*/ 2750 h 10000"/>
              <a:gd name="connsiteX14" fmla="*/ 2376 w 10012"/>
              <a:gd name="connsiteY14" fmla="*/ 2241 h 10000"/>
              <a:gd name="connsiteX15" fmla="*/ 2431 w 10012"/>
              <a:gd name="connsiteY15" fmla="*/ 2151 h 10000"/>
              <a:gd name="connsiteX16" fmla="*/ 2529 w 10012"/>
              <a:gd name="connsiteY16" fmla="*/ 1570 h 10000"/>
              <a:gd name="connsiteX17" fmla="*/ 2686 w 10012"/>
              <a:gd name="connsiteY17" fmla="*/ 1495 h 10000"/>
              <a:gd name="connsiteX18" fmla="*/ 3124 w 10012"/>
              <a:gd name="connsiteY18" fmla="*/ 1791 h 10000"/>
              <a:gd name="connsiteX19" fmla="*/ 3227 w 10012"/>
              <a:gd name="connsiteY19" fmla="*/ 2820 h 10000"/>
              <a:gd name="connsiteX20" fmla="*/ 3590 w 10012"/>
              <a:gd name="connsiteY20" fmla="*/ 2500 h 10000"/>
              <a:gd name="connsiteX21" fmla="*/ 3685 w 10012"/>
              <a:gd name="connsiteY21" fmla="*/ 1432 h 10000"/>
              <a:gd name="connsiteX22" fmla="*/ 3754 w 10012"/>
              <a:gd name="connsiteY22" fmla="*/ 1148 h 10000"/>
              <a:gd name="connsiteX23" fmla="*/ 4365 w 10012"/>
              <a:gd name="connsiteY23" fmla="*/ 6693 h 10000"/>
              <a:gd name="connsiteX24" fmla="*/ 4577 w 10012"/>
              <a:gd name="connsiteY24" fmla="*/ 6680 h 10000"/>
              <a:gd name="connsiteX25" fmla="*/ 5263 w 10012"/>
              <a:gd name="connsiteY25" fmla="*/ 766 h 10000"/>
              <a:gd name="connsiteX26" fmla="*/ 5262 w 10012"/>
              <a:gd name="connsiteY26" fmla="*/ 745 h 10000"/>
              <a:gd name="connsiteX27" fmla="*/ 5778 w 10012"/>
              <a:gd name="connsiteY27" fmla="*/ 1286 h 10000"/>
              <a:gd name="connsiteX28" fmla="*/ 5946 w 10012"/>
              <a:gd name="connsiteY28" fmla="*/ 0 h 10000"/>
              <a:gd name="connsiteX29" fmla="*/ 6493 w 10012"/>
              <a:gd name="connsiteY29" fmla="*/ 111 h 10000"/>
              <a:gd name="connsiteX30" fmla="*/ 6806 w 10012"/>
              <a:gd name="connsiteY30" fmla="*/ 42 h 10000"/>
              <a:gd name="connsiteX31" fmla="*/ 7003 w 10012"/>
              <a:gd name="connsiteY31" fmla="*/ 361 h 10000"/>
              <a:gd name="connsiteX32" fmla="*/ 7476 w 10012"/>
              <a:gd name="connsiteY32" fmla="*/ 6005 h 10000"/>
              <a:gd name="connsiteX33" fmla="*/ 8179 w 10012"/>
              <a:gd name="connsiteY33" fmla="*/ 6020 h 10000"/>
              <a:gd name="connsiteX34" fmla="*/ 8378 w 10012"/>
              <a:gd name="connsiteY34" fmla="*/ 4920 h 10000"/>
              <a:gd name="connsiteX35" fmla="*/ 8509 w 10012"/>
              <a:gd name="connsiteY35" fmla="*/ 5527 h 10000"/>
              <a:gd name="connsiteX36" fmla="*/ 8594 w 10012"/>
              <a:gd name="connsiteY36" fmla="*/ 4983 h 10000"/>
              <a:gd name="connsiteX37" fmla="*/ 8659 w 10012"/>
              <a:gd name="connsiteY37" fmla="*/ 7656 h 10000"/>
              <a:gd name="connsiteX38" fmla="*/ 8726 w 10012"/>
              <a:gd name="connsiteY38" fmla="*/ 6573 h 10000"/>
              <a:gd name="connsiteX39" fmla="*/ 8822 w 10012"/>
              <a:gd name="connsiteY39" fmla="*/ 7792 h 10000"/>
              <a:gd name="connsiteX40" fmla="*/ 8875 w 10012"/>
              <a:gd name="connsiteY40" fmla="*/ 7573 h 10000"/>
              <a:gd name="connsiteX41" fmla="*/ 8901 w 10012"/>
              <a:gd name="connsiteY41" fmla="*/ 7948 h 10000"/>
              <a:gd name="connsiteX42" fmla="*/ 8998 w 10012"/>
              <a:gd name="connsiteY42" fmla="*/ 7961 h 10000"/>
              <a:gd name="connsiteX43" fmla="*/ 9004 w 10012"/>
              <a:gd name="connsiteY43" fmla="*/ 7688 h 10000"/>
              <a:gd name="connsiteX44" fmla="*/ 9117 w 10012"/>
              <a:gd name="connsiteY44" fmla="*/ 7907 h 10000"/>
              <a:gd name="connsiteX45" fmla="*/ 9180 w 10012"/>
              <a:gd name="connsiteY45" fmla="*/ 7811 h 10000"/>
              <a:gd name="connsiteX46" fmla="*/ 9205 w 10012"/>
              <a:gd name="connsiteY46" fmla="*/ 7352 h 10000"/>
              <a:gd name="connsiteX47" fmla="*/ 9240 w 10012"/>
              <a:gd name="connsiteY47" fmla="*/ 7794 h 10000"/>
              <a:gd name="connsiteX48" fmla="*/ 9319 w 10012"/>
              <a:gd name="connsiteY48" fmla="*/ 7565 h 10000"/>
              <a:gd name="connsiteX49" fmla="*/ 9433 w 10012"/>
              <a:gd name="connsiteY49" fmla="*/ 7687 h 10000"/>
              <a:gd name="connsiteX50" fmla="*/ 9493 w 10012"/>
              <a:gd name="connsiteY50" fmla="*/ 7948 h 10000"/>
              <a:gd name="connsiteX51" fmla="*/ 9527 w 10012"/>
              <a:gd name="connsiteY51" fmla="*/ 7710 h 10000"/>
              <a:gd name="connsiteX52" fmla="*/ 9586 w 10012"/>
              <a:gd name="connsiteY52" fmla="*/ 7913 h 10000"/>
              <a:gd name="connsiteX53" fmla="*/ 9627 w 10012"/>
              <a:gd name="connsiteY53" fmla="*/ 7220 h 10000"/>
              <a:gd name="connsiteX54" fmla="*/ 9733 w 10012"/>
              <a:gd name="connsiteY54" fmla="*/ 7889 h 10000"/>
              <a:gd name="connsiteX55" fmla="*/ 9846 w 10012"/>
              <a:gd name="connsiteY55" fmla="*/ 7547 h 10000"/>
              <a:gd name="connsiteX56" fmla="*/ 9848 w 10012"/>
              <a:gd name="connsiteY56" fmla="*/ 7270 h 10000"/>
              <a:gd name="connsiteX57" fmla="*/ 9934 w 10012"/>
              <a:gd name="connsiteY57" fmla="*/ 7580 h 10000"/>
              <a:gd name="connsiteX58" fmla="*/ 10012 w 10012"/>
              <a:gd name="connsiteY58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103 w 10012"/>
              <a:gd name="connsiteY5" fmla="*/ 1480 h 10000"/>
              <a:gd name="connsiteX6" fmla="*/ 1228 w 10012"/>
              <a:gd name="connsiteY6" fmla="*/ 1301 h 10000"/>
              <a:gd name="connsiteX7" fmla="*/ 1367 w 10012"/>
              <a:gd name="connsiteY7" fmla="*/ 1750 h 10000"/>
              <a:gd name="connsiteX8" fmla="*/ 2031 w 10012"/>
              <a:gd name="connsiteY8" fmla="*/ 1480 h 10000"/>
              <a:gd name="connsiteX9" fmla="*/ 2097 w 10012"/>
              <a:gd name="connsiteY9" fmla="*/ 3547 h 10000"/>
              <a:gd name="connsiteX10" fmla="*/ 2224 w 10012"/>
              <a:gd name="connsiteY10" fmla="*/ 2510 h 10000"/>
              <a:gd name="connsiteX11" fmla="*/ 2237 w 10012"/>
              <a:gd name="connsiteY11" fmla="*/ 1972 h 10000"/>
              <a:gd name="connsiteX12" fmla="*/ 2316 w 10012"/>
              <a:gd name="connsiteY12" fmla="*/ 2750 h 10000"/>
              <a:gd name="connsiteX13" fmla="*/ 2376 w 10012"/>
              <a:gd name="connsiteY13" fmla="*/ 2241 h 10000"/>
              <a:gd name="connsiteX14" fmla="*/ 2431 w 10012"/>
              <a:gd name="connsiteY14" fmla="*/ 2151 h 10000"/>
              <a:gd name="connsiteX15" fmla="*/ 2529 w 10012"/>
              <a:gd name="connsiteY15" fmla="*/ 1570 h 10000"/>
              <a:gd name="connsiteX16" fmla="*/ 2686 w 10012"/>
              <a:gd name="connsiteY16" fmla="*/ 1495 h 10000"/>
              <a:gd name="connsiteX17" fmla="*/ 3124 w 10012"/>
              <a:gd name="connsiteY17" fmla="*/ 1791 h 10000"/>
              <a:gd name="connsiteX18" fmla="*/ 3227 w 10012"/>
              <a:gd name="connsiteY18" fmla="*/ 2820 h 10000"/>
              <a:gd name="connsiteX19" fmla="*/ 3590 w 10012"/>
              <a:gd name="connsiteY19" fmla="*/ 2500 h 10000"/>
              <a:gd name="connsiteX20" fmla="*/ 3685 w 10012"/>
              <a:gd name="connsiteY20" fmla="*/ 1432 h 10000"/>
              <a:gd name="connsiteX21" fmla="*/ 3754 w 10012"/>
              <a:gd name="connsiteY21" fmla="*/ 1148 h 10000"/>
              <a:gd name="connsiteX22" fmla="*/ 4365 w 10012"/>
              <a:gd name="connsiteY22" fmla="*/ 6693 h 10000"/>
              <a:gd name="connsiteX23" fmla="*/ 4577 w 10012"/>
              <a:gd name="connsiteY23" fmla="*/ 6680 h 10000"/>
              <a:gd name="connsiteX24" fmla="*/ 5263 w 10012"/>
              <a:gd name="connsiteY24" fmla="*/ 766 h 10000"/>
              <a:gd name="connsiteX25" fmla="*/ 5262 w 10012"/>
              <a:gd name="connsiteY25" fmla="*/ 745 h 10000"/>
              <a:gd name="connsiteX26" fmla="*/ 5778 w 10012"/>
              <a:gd name="connsiteY26" fmla="*/ 1286 h 10000"/>
              <a:gd name="connsiteX27" fmla="*/ 5946 w 10012"/>
              <a:gd name="connsiteY27" fmla="*/ 0 h 10000"/>
              <a:gd name="connsiteX28" fmla="*/ 6493 w 10012"/>
              <a:gd name="connsiteY28" fmla="*/ 111 h 10000"/>
              <a:gd name="connsiteX29" fmla="*/ 6806 w 10012"/>
              <a:gd name="connsiteY29" fmla="*/ 42 h 10000"/>
              <a:gd name="connsiteX30" fmla="*/ 7003 w 10012"/>
              <a:gd name="connsiteY30" fmla="*/ 361 h 10000"/>
              <a:gd name="connsiteX31" fmla="*/ 7476 w 10012"/>
              <a:gd name="connsiteY31" fmla="*/ 6005 h 10000"/>
              <a:gd name="connsiteX32" fmla="*/ 8179 w 10012"/>
              <a:gd name="connsiteY32" fmla="*/ 6020 h 10000"/>
              <a:gd name="connsiteX33" fmla="*/ 8378 w 10012"/>
              <a:gd name="connsiteY33" fmla="*/ 4920 h 10000"/>
              <a:gd name="connsiteX34" fmla="*/ 8509 w 10012"/>
              <a:gd name="connsiteY34" fmla="*/ 5527 h 10000"/>
              <a:gd name="connsiteX35" fmla="*/ 8594 w 10012"/>
              <a:gd name="connsiteY35" fmla="*/ 4983 h 10000"/>
              <a:gd name="connsiteX36" fmla="*/ 8659 w 10012"/>
              <a:gd name="connsiteY36" fmla="*/ 7656 h 10000"/>
              <a:gd name="connsiteX37" fmla="*/ 8726 w 10012"/>
              <a:gd name="connsiteY37" fmla="*/ 6573 h 10000"/>
              <a:gd name="connsiteX38" fmla="*/ 8822 w 10012"/>
              <a:gd name="connsiteY38" fmla="*/ 7792 h 10000"/>
              <a:gd name="connsiteX39" fmla="*/ 8875 w 10012"/>
              <a:gd name="connsiteY39" fmla="*/ 7573 h 10000"/>
              <a:gd name="connsiteX40" fmla="*/ 8901 w 10012"/>
              <a:gd name="connsiteY40" fmla="*/ 7948 h 10000"/>
              <a:gd name="connsiteX41" fmla="*/ 8998 w 10012"/>
              <a:gd name="connsiteY41" fmla="*/ 7961 h 10000"/>
              <a:gd name="connsiteX42" fmla="*/ 9004 w 10012"/>
              <a:gd name="connsiteY42" fmla="*/ 7688 h 10000"/>
              <a:gd name="connsiteX43" fmla="*/ 9117 w 10012"/>
              <a:gd name="connsiteY43" fmla="*/ 7907 h 10000"/>
              <a:gd name="connsiteX44" fmla="*/ 9180 w 10012"/>
              <a:gd name="connsiteY44" fmla="*/ 7811 h 10000"/>
              <a:gd name="connsiteX45" fmla="*/ 9205 w 10012"/>
              <a:gd name="connsiteY45" fmla="*/ 7352 h 10000"/>
              <a:gd name="connsiteX46" fmla="*/ 9240 w 10012"/>
              <a:gd name="connsiteY46" fmla="*/ 7794 h 10000"/>
              <a:gd name="connsiteX47" fmla="*/ 9319 w 10012"/>
              <a:gd name="connsiteY47" fmla="*/ 7565 h 10000"/>
              <a:gd name="connsiteX48" fmla="*/ 9433 w 10012"/>
              <a:gd name="connsiteY48" fmla="*/ 7687 h 10000"/>
              <a:gd name="connsiteX49" fmla="*/ 9493 w 10012"/>
              <a:gd name="connsiteY49" fmla="*/ 7948 h 10000"/>
              <a:gd name="connsiteX50" fmla="*/ 9527 w 10012"/>
              <a:gd name="connsiteY50" fmla="*/ 7710 h 10000"/>
              <a:gd name="connsiteX51" fmla="*/ 9586 w 10012"/>
              <a:gd name="connsiteY51" fmla="*/ 7913 h 10000"/>
              <a:gd name="connsiteX52" fmla="*/ 9627 w 10012"/>
              <a:gd name="connsiteY52" fmla="*/ 7220 h 10000"/>
              <a:gd name="connsiteX53" fmla="*/ 9733 w 10012"/>
              <a:gd name="connsiteY53" fmla="*/ 7889 h 10000"/>
              <a:gd name="connsiteX54" fmla="*/ 9846 w 10012"/>
              <a:gd name="connsiteY54" fmla="*/ 7547 h 10000"/>
              <a:gd name="connsiteX55" fmla="*/ 9848 w 10012"/>
              <a:gd name="connsiteY55" fmla="*/ 7270 h 10000"/>
              <a:gd name="connsiteX56" fmla="*/ 9934 w 10012"/>
              <a:gd name="connsiteY56" fmla="*/ 7580 h 10000"/>
              <a:gd name="connsiteX57" fmla="*/ 10012 w 10012"/>
              <a:gd name="connsiteY57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228 w 10012"/>
              <a:gd name="connsiteY5" fmla="*/ 1301 h 10000"/>
              <a:gd name="connsiteX6" fmla="*/ 1367 w 10012"/>
              <a:gd name="connsiteY6" fmla="*/ 1750 h 10000"/>
              <a:gd name="connsiteX7" fmla="*/ 2031 w 10012"/>
              <a:gd name="connsiteY7" fmla="*/ 1480 h 10000"/>
              <a:gd name="connsiteX8" fmla="*/ 2097 w 10012"/>
              <a:gd name="connsiteY8" fmla="*/ 3547 h 10000"/>
              <a:gd name="connsiteX9" fmla="*/ 2224 w 10012"/>
              <a:gd name="connsiteY9" fmla="*/ 2510 h 10000"/>
              <a:gd name="connsiteX10" fmla="*/ 2237 w 10012"/>
              <a:gd name="connsiteY10" fmla="*/ 1972 h 10000"/>
              <a:gd name="connsiteX11" fmla="*/ 2316 w 10012"/>
              <a:gd name="connsiteY11" fmla="*/ 2750 h 10000"/>
              <a:gd name="connsiteX12" fmla="*/ 2376 w 10012"/>
              <a:gd name="connsiteY12" fmla="*/ 2241 h 10000"/>
              <a:gd name="connsiteX13" fmla="*/ 2431 w 10012"/>
              <a:gd name="connsiteY13" fmla="*/ 2151 h 10000"/>
              <a:gd name="connsiteX14" fmla="*/ 2529 w 10012"/>
              <a:gd name="connsiteY14" fmla="*/ 1570 h 10000"/>
              <a:gd name="connsiteX15" fmla="*/ 2686 w 10012"/>
              <a:gd name="connsiteY15" fmla="*/ 1495 h 10000"/>
              <a:gd name="connsiteX16" fmla="*/ 3124 w 10012"/>
              <a:gd name="connsiteY16" fmla="*/ 1791 h 10000"/>
              <a:gd name="connsiteX17" fmla="*/ 3227 w 10012"/>
              <a:gd name="connsiteY17" fmla="*/ 2820 h 10000"/>
              <a:gd name="connsiteX18" fmla="*/ 3590 w 10012"/>
              <a:gd name="connsiteY18" fmla="*/ 2500 h 10000"/>
              <a:gd name="connsiteX19" fmla="*/ 3685 w 10012"/>
              <a:gd name="connsiteY19" fmla="*/ 1432 h 10000"/>
              <a:gd name="connsiteX20" fmla="*/ 3754 w 10012"/>
              <a:gd name="connsiteY20" fmla="*/ 1148 h 10000"/>
              <a:gd name="connsiteX21" fmla="*/ 4365 w 10012"/>
              <a:gd name="connsiteY21" fmla="*/ 6693 h 10000"/>
              <a:gd name="connsiteX22" fmla="*/ 4577 w 10012"/>
              <a:gd name="connsiteY22" fmla="*/ 6680 h 10000"/>
              <a:gd name="connsiteX23" fmla="*/ 5263 w 10012"/>
              <a:gd name="connsiteY23" fmla="*/ 766 h 10000"/>
              <a:gd name="connsiteX24" fmla="*/ 5262 w 10012"/>
              <a:gd name="connsiteY24" fmla="*/ 745 h 10000"/>
              <a:gd name="connsiteX25" fmla="*/ 5778 w 10012"/>
              <a:gd name="connsiteY25" fmla="*/ 1286 h 10000"/>
              <a:gd name="connsiteX26" fmla="*/ 5946 w 10012"/>
              <a:gd name="connsiteY26" fmla="*/ 0 h 10000"/>
              <a:gd name="connsiteX27" fmla="*/ 6493 w 10012"/>
              <a:gd name="connsiteY27" fmla="*/ 111 h 10000"/>
              <a:gd name="connsiteX28" fmla="*/ 6806 w 10012"/>
              <a:gd name="connsiteY28" fmla="*/ 42 h 10000"/>
              <a:gd name="connsiteX29" fmla="*/ 7003 w 10012"/>
              <a:gd name="connsiteY29" fmla="*/ 361 h 10000"/>
              <a:gd name="connsiteX30" fmla="*/ 7476 w 10012"/>
              <a:gd name="connsiteY30" fmla="*/ 6005 h 10000"/>
              <a:gd name="connsiteX31" fmla="*/ 8179 w 10012"/>
              <a:gd name="connsiteY31" fmla="*/ 6020 h 10000"/>
              <a:gd name="connsiteX32" fmla="*/ 8378 w 10012"/>
              <a:gd name="connsiteY32" fmla="*/ 4920 h 10000"/>
              <a:gd name="connsiteX33" fmla="*/ 8509 w 10012"/>
              <a:gd name="connsiteY33" fmla="*/ 5527 h 10000"/>
              <a:gd name="connsiteX34" fmla="*/ 8594 w 10012"/>
              <a:gd name="connsiteY34" fmla="*/ 4983 h 10000"/>
              <a:gd name="connsiteX35" fmla="*/ 8659 w 10012"/>
              <a:gd name="connsiteY35" fmla="*/ 7656 h 10000"/>
              <a:gd name="connsiteX36" fmla="*/ 8726 w 10012"/>
              <a:gd name="connsiteY36" fmla="*/ 6573 h 10000"/>
              <a:gd name="connsiteX37" fmla="*/ 8822 w 10012"/>
              <a:gd name="connsiteY37" fmla="*/ 7792 h 10000"/>
              <a:gd name="connsiteX38" fmla="*/ 8875 w 10012"/>
              <a:gd name="connsiteY38" fmla="*/ 7573 h 10000"/>
              <a:gd name="connsiteX39" fmla="*/ 8901 w 10012"/>
              <a:gd name="connsiteY39" fmla="*/ 7948 h 10000"/>
              <a:gd name="connsiteX40" fmla="*/ 8998 w 10012"/>
              <a:gd name="connsiteY40" fmla="*/ 7961 h 10000"/>
              <a:gd name="connsiteX41" fmla="*/ 9004 w 10012"/>
              <a:gd name="connsiteY41" fmla="*/ 7688 h 10000"/>
              <a:gd name="connsiteX42" fmla="*/ 9117 w 10012"/>
              <a:gd name="connsiteY42" fmla="*/ 7907 h 10000"/>
              <a:gd name="connsiteX43" fmla="*/ 9180 w 10012"/>
              <a:gd name="connsiteY43" fmla="*/ 7811 h 10000"/>
              <a:gd name="connsiteX44" fmla="*/ 9205 w 10012"/>
              <a:gd name="connsiteY44" fmla="*/ 7352 h 10000"/>
              <a:gd name="connsiteX45" fmla="*/ 9240 w 10012"/>
              <a:gd name="connsiteY45" fmla="*/ 7794 h 10000"/>
              <a:gd name="connsiteX46" fmla="*/ 9319 w 10012"/>
              <a:gd name="connsiteY46" fmla="*/ 7565 h 10000"/>
              <a:gd name="connsiteX47" fmla="*/ 9433 w 10012"/>
              <a:gd name="connsiteY47" fmla="*/ 7687 h 10000"/>
              <a:gd name="connsiteX48" fmla="*/ 9493 w 10012"/>
              <a:gd name="connsiteY48" fmla="*/ 7948 h 10000"/>
              <a:gd name="connsiteX49" fmla="*/ 9527 w 10012"/>
              <a:gd name="connsiteY49" fmla="*/ 7710 h 10000"/>
              <a:gd name="connsiteX50" fmla="*/ 9586 w 10012"/>
              <a:gd name="connsiteY50" fmla="*/ 7913 h 10000"/>
              <a:gd name="connsiteX51" fmla="*/ 9627 w 10012"/>
              <a:gd name="connsiteY51" fmla="*/ 7220 h 10000"/>
              <a:gd name="connsiteX52" fmla="*/ 9733 w 10012"/>
              <a:gd name="connsiteY52" fmla="*/ 7889 h 10000"/>
              <a:gd name="connsiteX53" fmla="*/ 9846 w 10012"/>
              <a:gd name="connsiteY53" fmla="*/ 7547 h 10000"/>
              <a:gd name="connsiteX54" fmla="*/ 9848 w 10012"/>
              <a:gd name="connsiteY54" fmla="*/ 7270 h 10000"/>
              <a:gd name="connsiteX55" fmla="*/ 9934 w 10012"/>
              <a:gd name="connsiteY55" fmla="*/ 7580 h 10000"/>
              <a:gd name="connsiteX56" fmla="*/ 10012 w 10012"/>
              <a:gd name="connsiteY56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367 w 10012"/>
              <a:gd name="connsiteY5" fmla="*/ 1750 h 10000"/>
              <a:gd name="connsiteX6" fmla="*/ 2031 w 10012"/>
              <a:gd name="connsiteY6" fmla="*/ 1480 h 10000"/>
              <a:gd name="connsiteX7" fmla="*/ 2097 w 10012"/>
              <a:gd name="connsiteY7" fmla="*/ 3547 h 10000"/>
              <a:gd name="connsiteX8" fmla="*/ 2224 w 10012"/>
              <a:gd name="connsiteY8" fmla="*/ 2510 h 10000"/>
              <a:gd name="connsiteX9" fmla="*/ 2237 w 10012"/>
              <a:gd name="connsiteY9" fmla="*/ 1972 h 10000"/>
              <a:gd name="connsiteX10" fmla="*/ 2316 w 10012"/>
              <a:gd name="connsiteY10" fmla="*/ 2750 h 10000"/>
              <a:gd name="connsiteX11" fmla="*/ 2376 w 10012"/>
              <a:gd name="connsiteY11" fmla="*/ 2241 h 10000"/>
              <a:gd name="connsiteX12" fmla="*/ 2431 w 10012"/>
              <a:gd name="connsiteY12" fmla="*/ 2151 h 10000"/>
              <a:gd name="connsiteX13" fmla="*/ 2529 w 10012"/>
              <a:gd name="connsiteY13" fmla="*/ 1570 h 10000"/>
              <a:gd name="connsiteX14" fmla="*/ 2686 w 10012"/>
              <a:gd name="connsiteY14" fmla="*/ 1495 h 10000"/>
              <a:gd name="connsiteX15" fmla="*/ 3124 w 10012"/>
              <a:gd name="connsiteY15" fmla="*/ 1791 h 10000"/>
              <a:gd name="connsiteX16" fmla="*/ 3227 w 10012"/>
              <a:gd name="connsiteY16" fmla="*/ 2820 h 10000"/>
              <a:gd name="connsiteX17" fmla="*/ 3590 w 10012"/>
              <a:gd name="connsiteY17" fmla="*/ 2500 h 10000"/>
              <a:gd name="connsiteX18" fmla="*/ 3685 w 10012"/>
              <a:gd name="connsiteY18" fmla="*/ 1432 h 10000"/>
              <a:gd name="connsiteX19" fmla="*/ 3754 w 10012"/>
              <a:gd name="connsiteY19" fmla="*/ 1148 h 10000"/>
              <a:gd name="connsiteX20" fmla="*/ 4365 w 10012"/>
              <a:gd name="connsiteY20" fmla="*/ 6693 h 10000"/>
              <a:gd name="connsiteX21" fmla="*/ 4577 w 10012"/>
              <a:gd name="connsiteY21" fmla="*/ 6680 h 10000"/>
              <a:gd name="connsiteX22" fmla="*/ 5263 w 10012"/>
              <a:gd name="connsiteY22" fmla="*/ 766 h 10000"/>
              <a:gd name="connsiteX23" fmla="*/ 5262 w 10012"/>
              <a:gd name="connsiteY23" fmla="*/ 745 h 10000"/>
              <a:gd name="connsiteX24" fmla="*/ 5778 w 10012"/>
              <a:gd name="connsiteY24" fmla="*/ 1286 h 10000"/>
              <a:gd name="connsiteX25" fmla="*/ 5946 w 10012"/>
              <a:gd name="connsiteY25" fmla="*/ 0 h 10000"/>
              <a:gd name="connsiteX26" fmla="*/ 6493 w 10012"/>
              <a:gd name="connsiteY26" fmla="*/ 111 h 10000"/>
              <a:gd name="connsiteX27" fmla="*/ 6806 w 10012"/>
              <a:gd name="connsiteY27" fmla="*/ 42 h 10000"/>
              <a:gd name="connsiteX28" fmla="*/ 7003 w 10012"/>
              <a:gd name="connsiteY28" fmla="*/ 361 h 10000"/>
              <a:gd name="connsiteX29" fmla="*/ 7476 w 10012"/>
              <a:gd name="connsiteY29" fmla="*/ 6005 h 10000"/>
              <a:gd name="connsiteX30" fmla="*/ 8179 w 10012"/>
              <a:gd name="connsiteY30" fmla="*/ 6020 h 10000"/>
              <a:gd name="connsiteX31" fmla="*/ 8378 w 10012"/>
              <a:gd name="connsiteY31" fmla="*/ 4920 h 10000"/>
              <a:gd name="connsiteX32" fmla="*/ 8509 w 10012"/>
              <a:gd name="connsiteY32" fmla="*/ 5527 h 10000"/>
              <a:gd name="connsiteX33" fmla="*/ 8594 w 10012"/>
              <a:gd name="connsiteY33" fmla="*/ 4983 h 10000"/>
              <a:gd name="connsiteX34" fmla="*/ 8659 w 10012"/>
              <a:gd name="connsiteY34" fmla="*/ 7656 h 10000"/>
              <a:gd name="connsiteX35" fmla="*/ 8726 w 10012"/>
              <a:gd name="connsiteY35" fmla="*/ 6573 h 10000"/>
              <a:gd name="connsiteX36" fmla="*/ 8822 w 10012"/>
              <a:gd name="connsiteY36" fmla="*/ 7792 h 10000"/>
              <a:gd name="connsiteX37" fmla="*/ 8875 w 10012"/>
              <a:gd name="connsiteY37" fmla="*/ 7573 h 10000"/>
              <a:gd name="connsiteX38" fmla="*/ 8901 w 10012"/>
              <a:gd name="connsiteY38" fmla="*/ 7948 h 10000"/>
              <a:gd name="connsiteX39" fmla="*/ 8998 w 10012"/>
              <a:gd name="connsiteY39" fmla="*/ 7961 h 10000"/>
              <a:gd name="connsiteX40" fmla="*/ 9004 w 10012"/>
              <a:gd name="connsiteY40" fmla="*/ 7688 h 10000"/>
              <a:gd name="connsiteX41" fmla="*/ 9117 w 10012"/>
              <a:gd name="connsiteY41" fmla="*/ 7907 h 10000"/>
              <a:gd name="connsiteX42" fmla="*/ 9180 w 10012"/>
              <a:gd name="connsiteY42" fmla="*/ 7811 h 10000"/>
              <a:gd name="connsiteX43" fmla="*/ 9205 w 10012"/>
              <a:gd name="connsiteY43" fmla="*/ 7352 h 10000"/>
              <a:gd name="connsiteX44" fmla="*/ 9240 w 10012"/>
              <a:gd name="connsiteY44" fmla="*/ 7794 h 10000"/>
              <a:gd name="connsiteX45" fmla="*/ 9319 w 10012"/>
              <a:gd name="connsiteY45" fmla="*/ 7565 h 10000"/>
              <a:gd name="connsiteX46" fmla="*/ 9433 w 10012"/>
              <a:gd name="connsiteY46" fmla="*/ 7687 h 10000"/>
              <a:gd name="connsiteX47" fmla="*/ 9493 w 10012"/>
              <a:gd name="connsiteY47" fmla="*/ 7948 h 10000"/>
              <a:gd name="connsiteX48" fmla="*/ 9527 w 10012"/>
              <a:gd name="connsiteY48" fmla="*/ 7710 h 10000"/>
              <a:gd name="connsiteX49" fmla="*/ 9586 w 10012"/>
              <a:gd name="connsiteY49" fmla="*/ 7913 h 10000"/>
              <a:gd name="connsiteX50" fmla="*/ 9627 w 10012"/>
              <a:gd name="connsiteY50" fmla="*/ 7220 h 10000"/>
              <a:gd name="connsiteX51" fmla="*/ 9733 w 10012"/>
              <a:gd name="connsiteY51" fmla="*/ 7889 h 10000"/>
              <a:gd name="connsiteX52" fmla="*/ 9846 w 10012"/>
              <a:gd name="connsiteY52" fmla="*/ 7547 h 10000"/>
              <a:gd name="connsiteX53" fmla="*/ 9848 w 10012"/>
              <a:gd name="connsiteY53" fmla="*/ 7270 h 10000"/>
              <a:gd name="connsiteX54" fmla="*/ 9934 w 10012"/>
              <a:gd name="connsiteY54" fmla="*/ 7580 h 10000"/>
              <a:gd name="connsiteX55" fmla="*/ 10012 w 10012"/>
              <a:gd name="connsiteY5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2031 w 10012"/>
              <a:gd name="connsiteY5" fmla="*/ 1480 h 10000"/>
              <a:gd name="connsiteX6" fmla="*/ 2097 w 10012"/>
              <a:gd name="connsiteY6" fmla="*/ 3547 h 10000"/>
              <a:gd name="connsiteX7" fmla="*/ 2224 w 10012"/>
              <a:gd name="connsiteY7" fmla="*/ 2510 h 10000"/>
              <a:gd name="connsiteX8" fmla="*/ 2237 w 10012"/>
              <a:gd name="connsiteY8" fmla="*/ 1972 h 10000"/>
              <a:gd name="connsiteX9" fmla="*/ 2316 w 10012"/>
              <a:gd name="connsiteY9" fmla="*/ 2750 h 10000"/>
              <a:gd name="connsiteX10" fmla="*/ 2376 w 10012"/>
              <a:gd name="connsiteY10" fmla="*/ 2241 h 10000"/>
              <a:gd name="connsiteX11" fmla="*/ 2431 w 10012"/>
              <a:gd name="connsiteY11" fmla="*/ 2151 h 10000"/>
              <a:gd name="connsiteX12" fmla="*/ 2529 w 10012"/>
              <a:gd name="connsiteY12" fmla="*/ 1570 h 10000"/>
              <a:gd name="connsiteX13" fmla="*/ 2686 w 10012"/>
              <a:gd name="connsiteY13" fmla="*/ 1495 h 10000"/>
              <a:gd name="connsiteX14" fmla="*/ 3124 w 10012"/>
              <a:gd name="connsiteY14" fmla="*/ 1791 h 10000"/>
              <a:gd name="connsiteX15" fmla="*/ 3227 w 10012"/>
              <a:gd name="connsiteY15" fmla="*/ 2820 h 10000"/>
              <a:gd name="connsiteX16" fmla="*/ 3590 w 10012"/>
              <a:gd name="connsiteY16" fmla="*/ 2500 h 10000"/>
              <a:gd name="connsiteX17" fmla="*/ 3685 w 10012"/>
              <a:gd name="connsiteY17" fmla="*/ 1432 h 10000"/>
              <a:gd name="connsiteX18" fmla="*/ 3754 w 10012"/>
              <a:gd name="connsiteY18" fmla="*/ 1148 h 10000"/>
              <a:gd name="connsiteX19" fmla="*/ 4365 w 10012"/>
              <a:gd name="connsiteY19" fmla="*/ 6693 h 10000"/>
              <a:gd name="connsiteX20" fmla="*/ 4577 w 10012"/>
              <a:gd name="connsiteY20" fmla="*/ 6680 h 10000"/>
              <a:gd name="connsiteX21" fmla="*/ 5263 w 10012"/>
              <a:gd name="connsiteY21" fmla="*/ 766 h 10000"/>
              <a:gd name="connsiteX22" fmla="*/ 5262 w 10012"/>
              <a:gd name="connsiteY22" fmla="*/ 745 h 10000"/>
              <a:gd name="connsiteX23" fmla="*/ 5778 w 10012"/>
              <a:gd name="connsiteY23" fmla="*/ 1286 h 10000"/>
              <a:gd name="connsiteX24" fmla="*/ 5946 w 10012"/>
              <a:gd name="connsiteY24" fmla="*/ 0 h 10000"/>
              <a:gd name="connsiteX25" fmla="*/ 6493 w 10012"/>
              <a:gd name="connsiteY25" fmla="*/ 111 h 10000"/>
              <a:gd name="connsiteX26" fmla="*/ 6806 w 10012"/>
              <a:gd name="connsiteY26" fmla="*/ 42 h 10000"/>
              <a:gd name="connsiteX27" fmla="*/ 7003 w 10012"/>
              <a:gd name="connsiteY27" fmla="*/ 361 h 10000"/>
              <a:gd name="connsiteX28" fmla="*/ 7476 w 10012"/>
              <a:gd name="connsiteY28" fmla="*/ 6005 h 10000"/>
              <a:gd name="connsiteX29" fmla="*/ 8179 w 10012"/>
              <a:gd name="connsiteY29" fmla="*/ 6020 h 10000"/>
              <a:gd name="connsiteX30" fmla="*/ 8378 w 10012"/>
              <a:gd name="connsiteY30" fmla="*/ 4920 h 10000"/>
              <a:gd name="connsiteX31" fmla="*/ 8509 w 10012"/>
              <a:gd name="connsiteY31" fmla="*/ 5527 h 10000"/>
              <a:gd name="connsiteX32" fmla="*/ 8594 w 10012"/>
              <a:gd name="connsiteY32" fmla="*/ 4983 h 10000"/>
              <a:gd name="connsiteX33" fmla="*/ 8659 w 10012"/>
              <a:gd name="connsiteY33" fmla="*/ 7656 h 10000"/>
              <a:gd name="connsiteX34" fmla="*/ 8726 w 10012"/>
              <a:gd name="connsiteY34" fmla="*/ 6573 h 10000"/>
              <a:gd name="connsiteX35" fmla="*/ 8822 w 10012"/>
              <a:gd name="connsiteY35" fmla="*/ 7792 h 10000"/>
              <a:gd name="connsiteX36" fmla="*/ 8875 w 10012"/>
              <a:gd name="connsiteY36" fmla="*/ 7573 h 10000"/>
              <a:gd name="connsiteX37" fmla="*/ 8901 w 10012"/>
              <a:gd name="connsiteY37" fmla="*/ 7948 h 10000"/>
              <a:gd name="connsiteX38" fmla="*/ 8998 w 10012"/>
              <a:gd name="connsiteY38" fmla="*/ 7961 h 10000"/>
              <a:gd name="connsiteX39" fmla="*/ 9004 w 10012"/>
              <a:gd name="connsiteY39" fmla="*/ 7688 h 10000"/>
              <a:gd name="connsiteX40" fmla="*/ 9117 w 10012"/>
              <a:gd name="connsiteY40" fmla="*/ 7907 h 10000"/>
              <a:gd name="connsiteX41" fmla="*/ 9180 w 10012"/>
              <a:gd name="connsiteY41" fmla="*/ 7811 h 10000"/>
              <a:gd name="connsiteX42" fmla="*/ 9205 w 10012"/>
              <a:gd name="connsiteY42" fmla="*/ 7352 h 10000"/>
              <a:gd name="connsiteX43" fmla="*/ 9240 w 10012"/>
              <a:gd name="connsiteY43" fmla="*/ 7794 h 10000"/>
              <a:gd name="connsiteX44" fmla="*/ 9319 w 10012"/>
              <a:gd name="connsiteY44" fmla="*/ 7565 h 10000"/>
              <a:gd name="connsiteX45" fmla="*/ 9433 w 10012"/>
              <a:gd name="connsiteY45" fmla="*/ 7687 h 10000"/>
              <a:gd name="connsiteX46" fmla="*/ 9493 w 10012"/>
              <a:gd name="connsiteY46" fmla="*/ 7948 h 10000"/>
              <a:gd name="connsiteX47" fmla="*/ 9527 w 10012"/>
              <a:gd name="connsiteY47" fmla="*/ 7710 h 10000"/>
              <a:gd name="connsiteX48" fmla="*/ 9586 w 10012"/>
              <a:gd name="connsiteY48" fmla="*/ 7913 h 10000"/>
              <a:gd name="connsiteX49" fmla="*/ 9627 w 10012"/>
              <a:gd name="connsiteY49" fmla="*/ 7220 h 10000"/>
              <a:gd name="connsiteX50" fmla="*/ 9733 w 10012"/>
              <a:gd name="connsiteY50" fmla="*/ 7889 h 10000"/>
              <a:gd name="connsiteX51" fmla="*/ 9846 w 10012"/>
              <a:gd name="connsiteY51" fmla="*/ 7547 h 10000"/>
              <a:gd name="connsiteX52" fmla="*/ 9848 w 10012"/>
              <a:gd name="connsiteY52" fmla="*/ 7270 h 10000"/>
              <a:gd name="connsiteX53" fmla="*/ 9934 w 10012"/>
              <a:gd name="connsiteY53" fmla="*/ 7580 h 10000"/>
              <a:gd name="connsiteX54" fmla="*/ 10012 w 10012"/>
              <a:gd name="connsiteY54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2031 w 10012"/>
              <a:gd name="connsiteY5" fmla="*/ 1480 h 10000"/>
              <a:gd name="connsiteX6" fmla="*/ 2224 w 10012"/>
              <a:gd name="connsiteY6" fmla="*/ 2510 h 10000"/>
              <a:gd name="connsiteX7" fmla="*/ 2237 w 10012"/>
              <a:gd name="connsiteY7" fmla="*/ 1972 h 10000"/>
              <a:gd name="connsiteX8" fmla="*/ 2316 w 10012"/>
              <a:gd name="connsiteY8" fmla="*/ 2750 h 10000"/>
              <a:gd name="connsiteX9" fmla="*/ 2376 w 10012"/>
              <a:gd name="connsiteY9" fmla="*/ 2241 h 10000"/>
              <a:gd name="connsiteX10" fmla="*/ 2431 w 10012"/>
              <a:gd name="connsiteY10" fmla="*/ 2151 h 10000"/>
              <a:gd name="connsiteX11" fmla="*/ 2529 w 10012"/>
              <a:gd name="connsiteY11" fmla="*/ 1570 h 10000"/>
              <a:gd name="connsiteX12" fmla="*/ 2686 w 10012"/>
              <a:gd name="connsiteY12" fmla="*/ 1495 h 10000"/>
              <a:gd name="connsiteX13" fmla="*/ 3124 w 10012"/>
              <a:gd name="connsiteY13" fmla="*/ 1791 h 10000"/>
              <a:gd name="connsiteX14" fmla="*/ 3227 w 10012"/>
              <a:gd name="connsiteY14" fmla="*/ 2820 h 10000"/>
              <a:gd name="connsiteX15" fmla="*/ 3590 w 10012"/>
              <a:gd name="connsiteY15" fmla="*/ 2500 h 10000"/>
              <a:gd name="connsiteX16" fmla="*/ 3685 w 10012"/>
              <a:gd name="connsiteY16" fmla="*/ 1432 h 10000"/>
              <a:gd name="connsiteX17" fmla="*/ 3754 w 10012"/>
              <a:gd name="connsiteY17" fmla="*/ 1148 h 10000"/>
              <a:gd name="connsiteX18" fmla="*/ 4365 w 10012"/>
              <a:gd name="connsiteY18" fmla="*/ 6693 h 10000"/>
              <a:gd name="connsiteX19" fmla="*/ 4577 w 10012"/>
              <a:gd name="connsiteY19" fmla="*/ 6680 h 10000"/>
              <a:gd name="connsiteX20" fmla="*/ 5263 w 10012"/>
              <a:gd name="connsiteY20" fmla="*/ 766 h 10000"/>
              <a:gd name="connsiteX21" fmla="*/ 5262 w 10012"/>
              <a:gd name="connsiteY21" fmla="*/ 745 h 10000"/>
              <a:gd name="connsiteX22" fmla="*/ 5778 w 10012"/>
              <a:gd name="connsiteY22" fmla="*/ 1286 h 10000"/>
              <a:gd name="connsiteX23" fmla="*/ 5946 w 10012"/>
              <a:gd name="connsiteY23" fmla="*/ 0 h 10000"/>
              <a:gd name="connsiteX24" fmla="*/ 6493 w 10012"/>
              <a:gd name="connsiteY24" fmla="*/ 111 h 10000"/>
              <a:gd name="connsiteX25" fmla="*/ 6806 w 10012"/>
              <a:gd name="connsiteY25" fmla="*/ 42 h 10000"/>
              <a:gd name="connsiteX26" fmla="*/ 7003 w 10012"/>
              <a:gd name="connsiteY26" fmla="*/ 361 h 10000"/>
              <a:gd name="connsiteX27" fmla="*/ 7476 w 10012"/>
              <a:gd name="connsiteY27" fmla="*/ 6005 h 10000"/>
              <a:gd name="connsiteX28" fmla="*/ 8179 w 10012"/>
              <a:gd name="connsiteY28" fmla="*/ 6020 h 10000"/>
              <a:gd name="connsiteX29" fmla="*/ 8378 w 10012"/>
              <a:gd name="connsiteY29" fmla="*/ 4920 h 10000"/>
              <a:gd name="connsiteX30" fmla="*/ 8509 w 10012"/>
              <a:gd name="connsiteY30" fmla="*/ 5527 h 10000"/>
              <a:gd name="connsiteX31" fmla="*/ 8594 w 10012"/>
              <a:gd name="connsiteY31" fmla="*/ 4983 h 10000"/>
              <a:gd name="connsiteX32" fmla="*/ 8659 w 10012"/>
              <a:gd name="connsiteY32" fmla="*/ 7656 h 10000"/>
              <a:gd name="connsiteX33" fmla="*/ 8726 w 10012"/>
              <a:gd name="connsiteY33" fmla="*/ 6573 h 10000"/>
              <a:gd name="connsiteX34" fmla="*/ 8822 w 10012"/>
              <a:gd name="connsiteY34" fmla="*/ 7792 h 10000"/>
              <a:gd name="connsiteX35" fmla="*/ 8875 w 10012"/>
              <a:gd name="connsiteY35" fmla="*/ 7573 h 10000"/>
              <a:gd name="connsiteX36" fmla="*/ 8901 w 10012"/>
              <a:gd name="connsiteY36" fmla="*/ 7948 h 10000"/>
              <a:gd name="connsiteX37" fmla="*/ 8998 w 10012"/>
              <a:gd name="connsiteY37" fmla="*/ 7961 h 10000"/>
              <a:gd name="connsiteX38" fmla="*/ 9004 w 10012"/>
              <a:gd name="connsiteY38" fmla="*/ 7688 h 10000"/>
              <a:gd name="connsiteX39" fmla="*/ 9117 w 10012"/>
              <a:gd name="connsiteY39" fmla="*/ 7907 h 10000"/>
              <a:gd name="connsiteX40" fmla="*/ 9180 w 10012"/>
              <a:gd name="connsiteY40" fmla="*/ 7811 h 10000"/>
              <a:gd name="connsiteX41" fmla="*/ 9205 w 10012"/>
              <a:gd name="connsiteY41" fmla="*/ 7352 h 10000"/>
              <a:gd name="connsiteX42" fmla="*/ 9240 w 10012"/>
              <a:gd name="connsiteY42" fmla="*/ 7794 h 10000"/>
              <a:gd name="connsiteX43" fmla="*/ 9319 w 10012"/>
              <a:gd name="connsiteY43" fmla="*/ 7565 h 10000"/>
              <a:gd name="connsiteX44" fmla="*/ 9433 w 10012"/>
              <a:gd name="connsiteY44" fmla="*/ 7687 h 10000"/>
              <a:gd name="connsiteX45" fmla="*/ 9493 w 10012"/>
              <a:gd name="connsiteY45" fmla="*/ 7948 h 10000"/>
              <a:gd name="connsiteX46" fmla="*/ 9527 w 10012"/>
              <a:gd name="connsiteY46" fmla="*/ 7710 h 10000"/>
              <a:gd name="connsiteX47" fmla="*/ 9586 w 10012"/>
              <a:gd name="connsiteY47" fmla="*/ 7913 h 10000"/>
              <a:gd name="connsiteX48" fmla="*/ 9627 w 10012"/>
              <a:gd name="connsiteY48" fmla="*/ 7220 h 10000"/>
              <a:gd name="connsiteX49" fmla="*/ 9733 w 10012"/>
              <a:gd name="connsiteY49" fmla="*/ 7889 h 10000"/>
              <a:gd name="connsiteX50" fmla="*/ 9846 w 10012"/>
              <a:gd name="connsiteY50" fmla="*/ 7547 h 10000"/>
              <a:gd name="connsiteX51" fmla="*/ 9848 w 10012"/>
              <a:gd name="connsiteY51" fmla="*/ 7270 h 10000"/>
              <a:gd name="connsiteX52" fmla="*/ 9934 w 10012"/>
              <a:gd name="connsiteY52" fmla="*/ 7580 h 10000"/>
              <a:gd name="connsiteX53" fmla="*/ 10012 w 10012"/>
              <a:gd name="connsiteY53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2031 w 10012"/>
              <a:gd name="connsiteY5" fmla="*/ 1480 h 10000"/>
              <a:gd name="connsiteX6" fmla="*/ 2224 w 10012"/>
              <a:gd name="connsiteY6" fmla="*/ 2510 h 10000"/>
              <a:gd name="connsiteX7" fmla="*/ 2237 w 10012"/>
              <a:gd name="connsiteY7" fmla="*/ 1972 h 10000"/>
              <a:gd name="connsiteX8" fmla="*/ 2376 w 10012"/>
              <a:gd name="connsiteY8" fmla="*/ 2241 h 10000"/>
              <a:gd name="connsiteX9" fmla="*/ 2431 w 10012"/>
              <a:gd name="connsiteY9" fmla="*/ 2151 h 10000"/>
              <a:gd name="connsiteX10" fmla="*/ 2529 w 10012"/>
              <a:gd name="connsiteY10" fmla="*/ 1570 h 10000"/>
              <a:gd name="connsiteX11" fmla="*/ 2686 w 10012"/>
              <a:gd name="connsiteY11" fmla="*/ 1495 h 10000"/>
              <a:gd name="connsiteX12" fmla="*/ 3124 w 10012"/>
              <a:gd name="connsiteY12" fmla="*/ 1791 h 10000"/>
              <a:gd name="connsiteX13" fmla="*/ 3227 w 10012"/>
              <a:gd name="connsiteY13" fmla="*/ 2820 h 10000"/>
              <a:gd name="connsiteX14" fmla="*/ 3590 w 10012"/>
              <a:gd name="connsiteY14" fmla="*/ 2500 h 10000"/>
              <a:gd name="connsiteX15" fmla="*/ 3685 w 10012"/>
              <a:gd name="connsiteY15" fmla="*/ 1432 h 10000"/>
              <a:gd name="connsiteX16" fmla="*/ 3754 w 10012"/>
              <a:gd name="connsiteY16" fmla="*/ 1148 h 10000"/>
              <a:gd name="connsiteX17" fmla="*/ 4365 w 10012"/>
              <a:gd name="connsiteY17" fmla="*/ 6693 h 10000"/>
              <a:gd name="connsiteX18" fmla="*/ 4577 w 10012"/>
              <a:gd name="connsiteY18" fmla="*/ 6680 h 10000"/>
              <a:gd name="connsiteX19" fmla="*/ 5263 w 10012"/>
              <a:gd name="connsiteY19" fmla="*/ 766 h 10000"/>
              <a:gd name="connsiteX20" fmla="*/ 5262 w 10012"/>
              <a:gd name="connsiteY20" fmla="*/ 745 h 10000"/>
              <a:gd name="connsiteX21" fmla="*/ 5778 w 10012"/>
              <a:gd name="connsiteY21" fmla="*/ 1286 h 10000"/>
              <a:gd name="connsiteX22" fmla="*/ 5946 w 10012"/>
              <a:gd name="connsiteY22" fmla="*/ 0 h 10000"/>
              <a:gd name="connsiteX23" fmla="*/ 6493 w 10012"/>
              <a:gd name="connsiteY23" fmla="*/ 111 h 10000"/>
              <a:gd name="connsiteX24" fmla="*/ 6806 w 10012"/>
              <a:gd name="connsiteY24" fmla="*/ 42 h 10000"/>
              <a:gd name="connsiteX25" fmla="*/ 7003 w 10012"/>
              <a:gd name="connsiteY25" fmla="*/ 361 h 10000"/>
              <a:gd name="connsiteX26" fmla="*/ 7476 w 10012"/>
              <a:gd name="connsiteY26" fmla="*/ 6005 h 10000"/>
              <a:gd name="connsiteX27" fmla="*/ 8179 w 10012"/>
              <a:gd name="connsiteY27" fmla="*/ 6020 h 10000"/>
              <a:gd name="connsiteX28" fmla="*/ 8378 w 10012"/>
              <a:gd name="connsiteY28" fmla="*/ 4920 h 10000"/>
              <a:gd name="connsiteX29" fmla="*/ 8509 w 10012"/>
              <a:gd name="connsiteY29" fmla="*/ 5527 h 10000"/>
              <a:gd name="connsiteX30" fmla="*/ 8594 w 10012"/>
              <a:gd name="connsiteY30" fmla="*/ 4983 h 10000"/>
              <a:gd name="connsiteX31" fmla="*/ 8659 w 10012"/>
              <a:gd name="connsiteY31" fmla="*/ 7656 h 10000"/>
              <a:gd name="connsiteX32" fmla="*/ 8726 w 10012"/>
              <a:gd name="connsiteY32" fmla="*/ 6573 h 10000"/>
              <a:gd name="connsiteX33" fmla="*/ 8822 w 10012"/>
              <a:gd name="connsiteY33" fmla="*/ 7792 h 10000"/>
              <a:gd name="connsiteX34" fmla="*/ 8875 w 10012"/>
              <a:gd name="connsiteY34" fmla="*/ 7573 h 10000"/>
              <a:gd name="connsiteX35" fmla="*/ 8901 w 10012"/>
              <a:gd name="connsiteY35" fmla="*/ 7948 h 10000"/>
              <a:gd name="connsiteX36" fmla="*/ 8998 w 10012"/>
              <a:gd name="connsiteY36" fmla="*/ 7961 h 10000"/>
              <a:gd name="connsiteX37" fmla="*/ 9004 w 10012"/>
              <a:gd name="connsiteY37" fmla="*/ 7688 h 10000"/>
              <a:gd name="connsiteX38" fmla="*/ 9117 w 10012"/>
              <a:gd name="connsiteY38" fmla="*/ 7907 h 10000"/>
              <a:gd name="connsiteX39" fmla="*/ 9180 w 10012"/>
              <a:gd name="connsiteY39" fmla="*/ 7811 h 10000"/>
              <a:gd name="connsiteX40" fmla="*/ 9205 w 10012"/>
              <a:gd name="connsiteY40" fmla="*/ 7352 h 10000"/>
              <a:gd name="connsiteX41" fmla="*/ 9240 w 10012"/>
              <a:gd name="connsiteY41" fmla="*/ 7794 h 10000"/>
              <a:gd name="connsiteX42" fmla="*/ 9319 w 10012"/>
              <a:gd name="connsiteY42" fmla="*/ 7565 h 10000"/>
              <a:gd name="connsiteX43" fmla="*/ 9433 w 10012"/>
              <a:gd name="connsiteY43" fmla="*/ 7687 h 10000"/>
              <a:gd name="connsiteX44" fmla="*/ 9493 w 10012"/>
              <a:gd name="connsiteY44" fmla="*/ 7948 h 10000"/>
              <a:gd name="connsiteX45" fmla="*/ 9527 w 10012"/>
              <a:gd name="connsiteY45" fmla="*/ 7710 h 10000"/>
              <a:gd name="connsiteX46" fmla="*/ 9586 w 10012"/>
              <a:gd name="connsiteY46" fmla="*/ 7913 h 10000"/>
              <a:gd name="connsiteX47" fmla="*/ 9627 w 10012"/>
              <a:gd name="connsiteY47" fmla="*/ 7220 h 10000"/>
              <a:gd name="connsiteX48" fmla="*/ 9733 w 10012"/>
              <a:gd name="connsiteY48" fmla="*/ 7889 h 10000"/>
              <a:gd name="connsiteX49" fmla="*/ 9846 w 10012"/>
              <a:gd name="connsiteY49" fmla="*/ 7547 h 10000"/>
              <a:gd name="connsiteX50" fmla="*/ 9848 w 10012"/>
              <a:gd name="connsiteY50" fmla="*/ 7270 h 10000"/>
              <a:gd name="connsiteX51" fmla="*/ 9934 w 10012"/>
              <a:gd name="connsiteY51" fmla="*/ 7580 h 10000"/>
              <a:gd name="connsiteX52" fmla="*/ 10012 w 10012"/>
              <a:gd name="connsiteY52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2031 w 10012"/>
              <a:gd name="connsiteY5" fmla="*/ 1480 h 10000"/>
              <a:gd name="connsiteX6" fmla="*/ 2224 w 10012"/>
              <a:gd name="connsiteY6" fmla="*/ 2510 h 10000"/>
              <a:gd name="connsiteX7" fmla="*/ 2237 w 10012"/>
              <a:gd name="connsiteY7" fmla="*/ 1972 h 10000"/>
              <a:gd name="connsiteX8" fmla="*/ 2376 w 10012"/>
              <a:gd name="connsiteY8" fmla="*/ 2241 h 10000"/>
              <a:gd name="connsiteX9" fmla="*/ 2529 w 10012"/>
              <a:gd name="connsiteY9" fmla="*/ 1570 h 10000"/>
              <a:gd name="connsiteX10" fmla="*/ 2686 w 10012"/>
              <a:gd name="connsiteY10" fmla="*/ 1495 h 10000"/>
              <a:gd name="connsiteX11" fmla="*/ 3124 w 10012"/>
              <a:gd name="connsiteY11" fmla="*/ 1791 h 10000"/>
              <a:gd name="connsiteX12" fmla="*/ 3227 w 10012"/>
              <a:gd name="connsiteY12" fmla="*/ 2820 h 10000"/>
              <a:gd name="connsiteX13" fmla="*/ 3590 w 10012"/>
              <a:gd name="connsiteY13" fmla="*/ 2500 h 10000"/>
              <a:gd name="connsiteX14" fmla="*/ 3685 w 10012"/>
              <a:gd name="connsiteY14" fmla="*/ 1432 h 10000"/>
              <a:gd name="connsiteX15" fmla="*/ 3754 w 10012"/>
              <a:gd name="connsiteY15" fmla="*/ 1148 h 10000"/>
              <a:gd name="connsiteX16" fmla="*/ 4365 w 10012"/>
              <a:gd name="connsiteY16" fmla="*/ 6693 h 10000"/>
              <a:gd name="connsiteX17" fmla="*/ 4577 w 10012"/>
              <a:gd name="connsiteY17" fmla="*/ 6680 h 10000"/>
              <a:gd name="connsiteX18" fmla="*/ 5263 w 10012"/>
              <a:gd name="connsiteY18" fmla="*/ 766 h 10000"/>
              <a:gd name="connsiteX19" fmla="*/ 5262 w 10012"/>
              <a:gd name="connsiteY19" fmla="*/ 745 h 10000"/>
              <a:gd name="connsiteX20" fmla="*/ 5778 w 10012"/>
              <a:gd name="connsiteY20" fmla="*/ 1286 h 10000"/>
              <a:gd name="connsiteX21" fmla="*/ 5946 w 10012"/>
              <a:gd name="connsiteY21" fmla="*/ 0 h 10000"/>
              <a:gd name="connsiteX22" fmla="*/ 6493 w 10012"/>
              <a:gd name="connsiteY22" fmla="*/ 111 h 10000"/>
              <a:gd name="connsiteX23" fmla="*/ 6806 w 10012"/>
              <a:gd name="connsiteY23" fmla="*/ 42 h 10000"/>
              <a:gd name="connsiteX24" fmla="*/ 7003 w 10012"/>
              <a:gd name="connsiteY24" fmla="*/ 361 h 10000"/>
              <a:gd name="connsiteX25" fmla="*/ 7476 w 10012"/>
              <a:gd name="connsiteY25" fmla="*/ 6005 h 10000"/>
              <a:gd name="connsiteX26" fmla="*/ 8179 w 10012"/>
              <a:gd name="connsiteY26" fmla="*/ 6020 h 10000"/>
              <a:gd name="connsiteX27" fmla="*/ 8378 w 10012"/>
              <a:gd name="connsiteY27" fmla="*/ 4920 h 10000"/>
              <a:gd name="connsiteX28" fmla="*/ 8509 w 10012"/>
              <a:gd name="connsiteY28" fmla="*/ 5527 h 10000"/>
              <a:gd name="connsiteX29" fmla="*/ 8594 w 10012"/>
              <a:gd name="connsiteY29" fmla="*/ 4983 h 10000"/>
              <a:gd name="connsiteX30" fmla="*/ 8659 w 10012"/>
              <a:gd name="connsiteY30" fmla="*/ 7656 h 10000"/>
              <a:gd name="connsiteX31" fmla="*/ 8726 w 10012"/>
              <a:gd name="connsiteY31" fmla="*/ 6573 h 10000"/>
              <a:gd name="connsiteX32" fmla="*/ 8822 w 10012"/>
              <a:gd name="connsiteY32" fmla="*/ 7792 h 10000"/>
              <a:gd name="connsiteX33" fmla="*/ 8875 w 10012"/>
              <a:gd name="connsiteY33" fmla="*/ 7573 h 10000"/>
              <a:gd name="connsiteX34" fmla="*/ 8901 w 10012"/>
              <a:gd name="connsiteY34" fmla="*/ 7948 h 10000"/>
              <a:gd name="connsiteX35" fmla="*/ 8998 w 10012"/>
              <a:gd name="connsiteY35" fmla="*/ 7961 h 10000"/>
              <a:gd name="connsiteX36" fmla="*/ 9004 w 10012"/>
              <a:gd name="connsiteY36" fmla="*/ 7688 h 10000"/>
              <a:gd name="connsiteX37" fmla="*/ 9117 w 10012"/>
              <a:gd name="connsiteY37" fmla="*/ 7907 h 10000"/>
              <a:gd name="connsiteX38" fmla="*/ 9180 w 10012"/>
              <a:gd name="connsiteY38" fmla="*/ 7811 h 10000"/>
              <a:gd name="connsiteX39" fmla="*/ 9205 w 10012"/>
              <a:gd name="connsiteY39" fmla="*/ 7352 h 10000"/>
              <a:gd name="connsiteX40" fmla="*/ 9240 w 10012"/>
              <a:gd name="connsiteY40" fmla="*/ 7794 h 10000"/>
              <a:gd name="connsiteX41" fmla="*/ 9319 w 10012"/>
              <a:gd name="connsiteY41" fmla="*/ 7565 h 10000"/>
              <a:gd name="connsiteX42" fmla="*/ 9433 w 10012"/>
              <a:gd name="connsiteY42" fmla="*/ 7687 h 10000"/>
              <a:gd name="connsiteX43" fmla="*/ 9493 w 10012"/>
              <a:gd name="connsiteY43" fmla="*/ 7948 h 10000"/>
              <a:gd name="connsiteX44" fmla="*/ 9527 w 10012"/>
              <a:gd name="connsiteY44" fmla="*/ 7710 h 10000"/>
              <a:gd name="connsiteX45" fmla="*/ 9586 w 10012"/>
              <a:gd name="connsiteY45" fmla="*/ 7913 h 10000"/>
              <a:gd name="connsiteX46" fmla="*/ 9627 w 10012"/>
              <a:gd name="connsiteY46" fmla="*/ 7220 h 10000"/>
              <a:gd name="connsiteX47" fmla="*/ 9733 w 10012"/>
              <a:gd name="connsiteY47" fmla="*/ 7889 h 10000"/>
              <a:gd name="connsiteX48" fmla="*/ 9846 w 10012"/>
              <a:gd name="connsiteY48" fmla="*/ 7547 h 10000"/>
              <a:gd name="connsiteX49" fmla="*/ 9848 w 10012"/>
              <a:gd name="connsiteY49" fmla="*/ 7270 h 10000"/>
              <a:gd name="connsiteX50" fmla="*/ 9934 w 10012"/>
              <a:gd name="connsiteY50" fmla="*/ 7580 h 10000"/>
              <a:gd name="connsiteX51" fmla="*/ 10012 w 10012"/>
              <a:gd name="connsiteY51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2031 w 10012"/>
              <a:gd name="connsiteY5" fmla="*/ 1480 h 10000"/>
              <a:gd name="connsiteX6" fmla="*/ 2224 w 10012"/>
              <a:gd name="connsiteY6" fmla="*/ 2510 h 10000"/>
              <a:gd name="connsiteX7" fmla="*/ 2237 w 10012"/>
              <a:gd name="connsiteY7" fmla="*/ 1972 h 10000"/>
              <a:gd name="connsiteX8" fmla="*/ 2529 w 10012"/>
              <a:gd name="connsiteY8" fmla="*/ 1570 h 10000"/>
              <a:gd name="connsiteX9" fmla="*/ 2686 w 10012"/>
              <a:gd name="connsiteY9" fmla="*/ 1495 h 10000"/>
              <a:gd name="connsiteX10" fmla="*/ 3124 w 10012"/>
              <a:gd name="connsiteY10" fmla="*/ 1791 h 10000"/>
              <a:gd name="connsiteX11" fmla="*/ 3227 w 10012"/>
              <a:gd name="connsiteY11" fmla="*/ 2820 h 10000"/>
              <a:gd name="connsiteX12" fmla="*/ 3590 w 10012"/>
              <a:gd name="connsiteY12" fmla="*/ 2500 h 10000"/>
              <a:gd name="connsiteX13" fmla="*/ 3685 w 10012"/>
              <a:gd name="connsiteY13" fmla="*/ 1432 h 10000"/>
              <a:gd name="connsiteX14" fmla="*/ 3754 w 10012"/>
              <a:gd name="connsiteY14" fmla="*/ 1148 h 10000"/>
              <a:gd name="connsiteX15" fmla="*/ 4365 w 10012"/>
              <a:gd name="connsiteY15" fmla="*/ 6693 h 10000"/>
              <a:gd name="connsiteX16" fmla="*/ 4577 w 10012"/>
              <a:gd name="connsiteY16" fmla="*/ 6680 h 10000"/>
              <a:gd name="connsiteX17" fmla="*/ 5263 w 10012"/>
              <a:gd name="connsiteY17" fmla="*/ 766 h 10000"/>
              <a:gd name="connsiteX18" fmla="*/ 5262 w 10012"/>
              <a:gd name="connsiteY18" fmla="*/ 745 h 10000"/>
              <a:gd name="connsiteX19" fmla="*/ 5778 w 10012"/>
              <a:gd name="connsiteY19" fmla="*/ 1286 h 10000"/>
              <a:gd name="connsiteX20" fmla="*/ 5946 w 10012"/>
              <a:gd name="connsiteY20" fmla="*/ 0 h 10000"/>
              <a:gd name="connsiteX21" fmla="*/ 6493 w 10012"/>
              <a:gd name="connsiteY21" fmla="*/ 111 h 10000"/>
              <a:gd name="connsiteX22" fmla="*/ 6806 w 10012"/>
              <a:gd name="connsiteY22" fmla="*/ 42 h 10000"/>
              <a:gd name="connsiteX23" fmla="*/ 7003 w 10012"/>
              <a:gd name="connsiteY23" fmla="*/ 361 h 10000"/>
              <a:gd name="connsiteX24" fmla="*/ 7476 w 10012"/>
              <a:gd name="connsiteY24" fmla="*/ 6005 h 10000"/>
              <a:gd name="connsiteX25" fmla="*/ 8179 w 10012"/>
              <a:gd name="connsiteY25" fmla="*/ 6020 h 10000"/>
              <a:gd name="connsiteX26" fmla="*/ 8378 w 10012"/>
              <a:gd name="connsiteY26" fmla="*/ 4920 h 10000"/>
              <a:gd name="connsiteX27" fmla="*/ 8509 w 10012"/>
              <a:gd name="connsiteY27" fmla="*/ 5527 h 10000"/>
              <a:gd name="connsiteX28" fmla="*/ 8594 w 10012"/>
              <a:gd name="connsiteY28" fmla="*/ 4983 h 10000"/>
              <a:gd name="connsiteX29" fmla="*/ 8659 w 10012"/>
              <a:gd name="connsiteY29" fmla="*/ 7656 h 10000"/>
              <a:gd name="connsiteX30" fmla="*/ 8726 w 10012"/>
              <a:gd name="connsiteY30" fmla="*/ 6573 h 10000"/>
              <a:gd name="connsiteX31" fmla="*/ 8822 w 10012"/>
              <a:gd name="connsiteY31" fmla="*/ 7792 h 10000"/>
              <a:gd name="connsiteX32" fmla="*/ 8875 w 10012"/>
              <a:gd name="connsiteY32" fmla="*/ 7573 h 10000"/>
              <a:gd name="connsiteX33" fmla="*/ 8901 w 10012"/>
              <a:gd name="connsiteY33" fmla="*/ 7948 h 10000"/>
              <a:gd name="connsiteX34" fmla="*/ 8998 w 10012"/>
              <a:gd name="connsiteY34" fmla="*/ 7961 h 10000"/>
              <a:gd name="connsiteX35" fmla="*/ 9004 w 10012"/>
              <a:gd name="connsiteY35" fmla="*/ 7688 h 10000"/>
              <a:gd name="connsiteX36" fmla="*/ 9117 w 10012"/>
              <a:gd name="connsiteY36" fmla="*/ 7907 h 10000"/>
              <a:gd name="connsiteX37" fmla="*/ 9180 w 10012"/>
              <a:gd name="connsiteY37" fmla="*/ 7811 h 10000"/>
              <a:gd name="connsiteX38" fmla="*/ 9205 w 10012"/>
              <a:gd name="connsiteY38" fmla="*/ 7352 h 10000"/>
              <a:gd name="connsiteX39" fmla="*/ 9240 w 10012"/>
              <a:gd name="connsiteY39" fmla="*/ 7794 h 10000"/>
              <a:gd name="connsiteX40" fmla="*/ 9319 w 10012"/>
              <a:gd name="connsiteY40" fmla="*/ 7565 h 10000"/>
              <a:gd name="connsiteX41" fmla="*/ 9433 w 10012"/>
              <a:gd name="connsiteY41" fmla="*/ 7687 h 10000"/>
              <a:gd name="connsiteX42" fmla="*/ 9493 w 10012"/>
              <a:gd name="connsiteY42" fmla="*/ 7948 h 10000"/>
              <a:gd name="connsiteX43" fmla="*/ 9527 w 10012"/>
              <a:gd name="connsiteY43" fmla="*/ 7710 h 10000"/>
              <a:gd name="connsiteX44" fmla="*/ 9586 w 10012"/>
              <a:gd name="connsiteY44" fmla="*/ 7913 h 10000"/>
              <a:gd name="connsiteX45" fmla="*/ 9627 w 10012"/>
              <a:gd name="connsiteY45" fmla="*/ 7220 h 10000"/>
              <a:gd name="connsiteX46" fmla="*/ 9733 w 10012"/>
              <a:gd name="connsiteY46" fmla="*/ 7889 h 10000"/>
              <a:gd name="connsiteX47" fmla="*/ 9846 w 10012"/>
              <a:gd name="connsiteY47" fmla="*/ 7547 h 10000"/>
              <a:gd name="connsiteX48" fmla="*/ 9848 w 10012"/>
              <a:gd name="connsiteY48" fmla="*/ 7270 h 10000"/>
              <a:gd name="connsiteX49" fmla="*/ 9934 w 10012"/>
              <a:gd name="connsiteY49" fmla="*/ 7580 h 10000"/>
              <a:gd name="connsiteX50" fmla="*/ 10012 w 10012"/>
              <a:gd name="connsiteY50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2031 w 10012"/>
              <a:gd name="connsiteY5" fmla="*/ 1480 h 10000"/>
              <a:gd name="connsiteX6" fmla="*/ 2224 w 10012"/>
              <a:gd name="connsiteY6" fmla="*/ 2510 h 10000"/>
              <a:gd name="connsiteX7" fmla="*/ 2529 w 10012"/>
              <a:gd name="connsiteY7" fmla="*/ 1570 h 10000"/>
              <a:gd name="connsiteX8" fmla="*/ 2686 w 10012"/>
              <a:gd name="connsiteY8" fmla="*/ 1495 h 10000"/>
              <a:gd name="connsiteX9" fmla="*/ 3124 w 10012"/>
              <a:gd name="connsiteY9" fmla="*/ 1791 h 10000"/>
              <a:gd name="connsiteX10" fmla="*/ 3227 w 10012"/>
              <a:gd name="connsiteY10" fmla="*/ 2820 h 10000"/>
              <a:gd name="connsiteX11" fmla="*/ 3590 w 10012"/>
              <a:gd name="connsiteY11" fmla="*/ 2500 h 10000"/>
              <a:gd name="connsiteX12" fmla="*/ 3685 w 10012"/>
              <a:gd name="connsiteY12" fmla="*/ 1432 h 10000"/>
              <a:gd name="connsiteX13" fmla="*/ 3754 w 10012"/>
              <a:gd name="connsiteY13" fmla="*/ 1148 h 10000"/>
              <a:gd name="connsiteX14" fmla="*/ 4365 w 10012"/>
              <a:gd name="connsiteY14" fmla="*/ 6693 h 10000"/>
              <a:gd name="connsiteX15" fmla="*/ 4577 w 10012"/>
              <a:gd name="connsiteY15" fmla="*/ 6680 h 10000"/>
              <a:gd name="connsiteX16" fmla="*/ 5263 w 10012"/>
              <a:gd name="connsiteY16" fmla="*/ 766 h 10000"/>
              <a:gd name="connsiteX17" fmla="*/ 5262 w 10012"/>
              <a:gd name="connsiteY17" fmla="*/ 745 h 10000"/>
              <a:gd name="connsiteX18" fmla="*/ 5778 w 10012"/>
              <a:gd name="connsiteY18" fmla="*/ 1286 h 10000"/>
              <a:gd name="connsiteX19" fmla="*/ 5946 w 10012"/>
              <a:gd name="connsiteY19" fmla="*/ 0 h 10000"/>
              <a:gd name="connsiteX20" fmla="*/ 6493 w 10012"/>
              <a:gd name="connsiteY20" fmla="*/ 111 h 10000"/>
              <a:gd name="connsiteX21" fmla="*/ 6806 w 10012"/>
              <a:gd name="connsiteY21" fmla="*/ 42 h 10000"/>
              <a:gd name="connsiteX22" fmla="*/ 7003 w 10012"/>
              <a:gd name="connsiteY22" fmla="*/ 361 h 10000"/>
              <a:gd name="connsiteX23" fmla="*/ 7476 w 10012"/>
              <a:gd name="connsiteY23" fmla="*/ 6005 h 10000"/>
              <a:gd name="connsiteX24" fmla="*/ 8179 w 10012"/>
              <a:gd name="connsiteY24" fmla="*/ 6020 h 10000"/>
              <a:gd name="connsiteX25" fmla="*/ 8378 w 10012"/>
              <a:gd name="connsiteY25" fmla="*/ 4920 h 10000"/>
              <a:gd name="connsiteX26" fmla="*/ 8509 w 10012"/>
              <a:gd name="connsiteY26" fmla="*/ 5527 h 10000"/>
              <a:gd name="connsiteX27" fmla="*/ 8594 w 10012"/>
              <a:gd name="connsiteY27" fmla="*/ 4983 h 10000"/>
              <a:gd name="connsiteX28" fmla="*/ 8659 w 10012"/>
              <a:gd name="connsiteY28" fmla="*/ 7656 h 10000"/>
              <a:gd name="connsiteX29" fmla="*/ 8726 w 10012"/>
              <a:gd name="connsiteY29" fmla="*/ 6573 h 10000"/>
              <a:gd name="connsiteX30" fmla="*/ 8822 w 10012"/>
              <a:gd name="connsiteY30" fmla="*/ 7792 h 10000"/>
              <a:gd name="connsiteX31" fmla="*/ 8875 w 10012"/>
              <a:gd name="connsiteY31" fmla="*/ 7573 h 10000"/>
              <a:gd name="connsiteX32" fmla="*/ 8901 w 10012"/>
              <a:gd name="connsiteY32" fmla="*/ 7948 h 10000"/>
              <a:gd name="connsiteX33" fmla="*/ 8998 w 10012"/>
              <a:gd name="connsiteY33" fmla="*/ 7961 h 10000"/>
              <a:gd name="connsiteX34" fmla="*/ 9004 w 10012"/>
              <a:gd name="connsiteY34" fmla="*/ 7688 h 10000"/>
              <a:gd name="connsiteX35" fmla="*/ 9117 w 10012"/>
              <a:gd name="connsiteY35" fmla="*/ 7907 h 10000"/>
              <a:gd name="connsiteX36" fmla="*/ 9180 w 10012"/>
              <a:gd name="connsiteY36" fmla="*/ 7811 h 10000"/>
              <a:gd name="connsiteX37" fmla="*/ 9205 w 10012"/>
              <a:gd name="connsiteY37" fmla="*/ 7352 h 10000"/>
              <a:gd name="connsiteX38" fmla="*/ 9240 w 10012"/>
              <a:gd name="connsiteY38" fmla="*/ 7794 h 10000"/>
              <a:gd name="connsiteX39" fmla="*/ 9319 w 10012"/>
              <a:gd name="connsiteY39" fmla="*/ 7565 h 10000"/>
              <a:gd name="connsiteX40" fmla="*/ 9433 w 10012"/>
              <a:gd name="connsiteY40" fmla="*/ 7687 h 10000"/>
              <a:gd name="connsiteX41" fmla="*/ 9493 w 10012"/>
              <a:gd name="connsiteY41" fmla="*/ 7948 h 10000"/>
              <a:gd name="connsiteX42" fmla="*/ 9527 w 10012"/>
              <a:gd name="connsiteY42" fmla="*/ 7710 h 10000"/>
              <a:gd name="connsiteX43" fmla="*/ 9586 w 10012"/>
              <a:gd name="connsiteY43" fmla="*/ 7913 h 10000"/>
              <a:gd name="connsiteX44" fmla="*/ 9627 w 10012"/>
              <a:gd name="connsiteY44" fmla="*/ 7220 h 10000"/>
              <a:gd name="connsiteX45" fmla="*/ 9733 w 10012"/>
              <a:gd name="connsiteY45" fmla="*/ 7889 h 10000"/>
              <a:gd name="connsiteX46" fmla="*/ 9846 w 10012"/>
              <a:gd name="connsiteY46" fmla="*/ 7547 h 10000"/>
              <a:gd name="connsiteX47" fmla="*/ 9848 w 10012"/>
              <a:gd name="connsiteY47" fmla="*/ 7270 h 10000"/>
              <a:gd name="connsiteX48" fmla="*/ 9934 w 10012"/>
              <a:gd name="connsiteY48" fmla="*/ 7580 h 10000"/>
              <a:gd name="connsiteX49" fmla="*/ 10012 w 10012"/>
              <a:gd name="connsiteY49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2031 w 10012"/>
              <a:gd name="connsiteY5" fmla="*/ 1480 h 10000"/>
              <a:gd name="connsiteX6" fmla="*/ 2529 w 10012"/>
              <a:gd name="connsiteY6" fmla="*/ 1570 h 10000"/>
              <a:gd name="connsiteX7" fmla="*/ 2686 w 10012"/>
              <a:gd name="connsiteY7" fmla="*/ 1495 h 10000"/>
              <a:gd name="connsiteX8" fmla="*/ 3124 w 10012"/>
              <a:gd name="connsiteY8" fmla="*/ 1791 h 10000"/>
              <a:gd name="connsiteX9" fmla="*/ 3227 w 10012"/>
              <a:gd name="connsiteY9" fmla="*/ 2820 h 10000"/>
              <a:gd name="connsiteX10" fmla="*/ 3590 w 10012"/>
              <a:gd name="connsiteY10" fmla="*/ 2500 h 10000"/>
              <a:gd name="connsiteX11" fmla="*/ 3685 w 10012"/>
              <a:gd name="connsiteY11" fmla="*/ 1432 h 10000"/>
              <a:gd name="connsiteX12" fmla="*/ 3754 w 10012"/>
              <a:gd name="connsiteY12" fmla="*/ 1148 h 10000"/>
              <a:gd name="connsiteX13" fmla="*/ 4365 w 10012"/>
              <a:gd name="connsiteY13" fmla="*/ 6693 h 10000"/>
              <a:gd name="connsiteX14" fmla="*/ 4577 w 10012"/>
              <a:gd name="connsiteY14" fmla="*/ 6680 h 10000"/>
              <a:gd name="connsiteX15" fmla="*/ 5263 w 10012"/>
              <a:gd name="connsiteY15" fmla="*/ 766 h 10000"/>
              <a:gd name="connsiteX16" fmla="*/ 5262 w 10012"/>
              <a:gd name="connsiteY16" fmla="*/ 745 h 10000"/>
              <a:gd name="connsiteX17" fmla="*/ 5778 w 10012"/>
              <a:gd name="connsiteY17" fmla="*/ 1286 h 10000"/>
              <a:gd name="connsiteX18" fmla="*/ 5946 w 10012"/>
              <a:gd name="connsiteY18" fmla="*/ 0 h 10000"/>
              <a:gd name="connsiteX19" fmla="*/ 6493 w 10012"/>
              <a:gd name="connsiteY19" fmla="*/ 111 h 10000"/>
              <a:gd name="connsiteX20" fmla="*/ 6806 w 10012"/>
              <a:gd name="connsiteY20" fmla="*/ 42 h 10000"/>
              <a:gd name="connsiteX21" fmla="*/ 7003 w 10012"/>
              <a:gd name="connsiteY21" fmla="*/ 361 h 10000"/>
              <a:gd name="connsiteX22" fmla="*/ 7476 w 10012"/>
              <a:gd name="connsiteY22" fmla="*/ 6005 h 10000"/>
              <a:gd name="connsiteX23" fmla="*/ 8179 w 10012"/>
              <a:gd name="connsiteY23" fmla="*/ 6020 h 10000"/>
              <a:gd name="connsiteX24" fmla="*/ 8378 w 10012"/>
              <a:gd name="connsiteY24" fmla="*/ 4920 h 10000"/>
              <a:gd name="connsiteX25" fmla="*/ 8509 w 10012"/>
              <a:gd name="connsiteY25" fmla="*/ 5527 h 10000"/>
              <a:gd name="connsiteX26" fmla="*/ 8594 w 10012"/>
              <a:gd name="connsiteY26" fmla="*/ 4983 h 10000"/>
              <a:gd name="connsiteX27" fmla="*/ 8659 w 10012"/>
              <a:gd name="connsiteY27" fmla="*/ 7656 h 10000"/>
              <a:gd name="connsiteX28" fmla="*/ 8726 w 10012"/>
              <a:gd name="connsiteY28" fmla="*/ 6573 h 10000"/>
              <a:gd name="connsiteX29" fmla="*/ 8822 w 10012"/>
              <a:gd name="connsiteY29" fmla="*/ 7792 h 10000"/>
              <a:gd name="connsiteX30" fmla="*/ 8875 w 10012"/>
              <a:gd name="connsiteY30" fmla="*/ 7573 h 10000"/>
              <a:gd name="connsiteX31" fmla="*/ 8901 w 10012"/>
              <a:gd name="connsiteY31" fmla="*/ 7948 h 10000"/>
              <a:gd name="connsiteX32" fmla="*/ 8998 w 10012"/>
              <a:gd name="connsiteY32" fmla="*/ 7961 h 10000"/>
              <a:gd name="connsiteX33" fmla="*/ 9004 w 10012"/>
              <a:gd name="connsiteY33" fmla="*/ 7688 h 10000"/>
              <a:gd name="connsiteX34" fmla="*/ 9117 w 10012"/>
              <a:gd name="connsiteY34" fmla="*/ 7907 h 10000"/>
              <a:gd name="connsiteX35" fmla="*/ 9180 w 10012"/>
              <a:gd name="connsiteY35" fmla="*/ 7811 h 10000"/>
              <a:gd name="connsiteX36" fmla="*/ 9205 w 10012"/>
              <a:gd name="connsiteY36" fmla="*/ 7352 h 10000"/>
              <a:gd name="connsiteX37" fmla="*/ 9240 w 10012"/>
              <a:gd name="connsiteY37" fmla="*/ 7794 h 10000"/>
              <a:gd name="connsiteX38" fmla="*/ 9319 w 10012"/>
              <a:gd name="connsiteY38" fmla="*/ 7565 h 10000"/>
              <a:gd name="connsiteX39" fmla="*/ 9433 w 10012"/>
              <a:gd name="connsiteY39" fmla="*/ 7687 h 10000"/>
              <a:gd name="connsiteX40" fmla="*/ 9493 w 10012"/>
              <a:gd name="connsiteY40" fmla="*/ 7948 h 10000"/>
              <a:gd name="connsiteX41" fmla="*/ 9527 w 10012"/>
              <a:gd name="connsiteY41" fmla="*/ 7710 h 10000"/>
              <a:gd name="connsiteX42" fmla="*/ 9586 w 10012"/>
              <a:gd name="connsiteY42" fmla="*/ 7913 h 10000"/>
              <a:gd name="connsiteX43" fmla="*/ 9627 w 10012"/>
              <a:gd name="connsiteY43" fmla="*/ 7220 h 10000"/>
              <a:gd name="connsiteX44" fmla="*/ 9733 w 10012"/>
              <a:gd name="connsiteY44" fmla="*/ 7889 h 10000"/>
              <a:gd name="connsiteX45" fmla="*/ 9846 w 10012"/>
              <a:gd name="connsiteY45" fmla="*/ 7547 h 10000"/>
              <a:gd name="connsiteX46" fmla="*/ 9848 w 10012"/>
              <a:gd name="connsiteY46" fmla="*/ 7270 h 10000"/>
              <a:gd name="connsiteX47" fmla="*/ 9934 w 10012"/>
              <a:gd name="connsiteY47" fmla="*/ 7580 h 10000"/>
              <a:gd name="connsiteX48" fmla="*/ 10012 w 10012"/>
              <a:gd name="connsiteY48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2529 w 10012"/>
              <a:gd name="connsiteY5" fmla="*/ 1570 h 10000"/>
              <a:gd name="connsiteX6" fmla="*/ 2686 w 10012"/>
              <a:gd name="connsiteY6" fmla="*/ 1495 h 10000"/>
              <a:gd name="connsiteX7" fmla="*/ 3124 w 10012"/>
              <a:gd name="connsiteY7" fmla="*/ 1791 h 10000"/>
              <a:gd name="connsiteX8" fmla="*/ 3227 w 10012"/>
              <a:gd name="connsiteY8" fmla="*/ 2820 h 10000"/>
              <a:gd name="connsiteX9" fmla="*/ 3590 w 10012"/>
              <a:gd name="connsiteY9" fmla="*/ 2500 h 10000"/>
              <a:gd name="connsiteX10" fmla="*/ 3685 w 10012"/>
              <a:gd name="connsiteY10" fmla="*/ 1432 h 10000"/>
              <a:gd name="connsiteX11" fmla="*/ 3754 w 10012"/>
              <a:gd name="connsiteY11" fmla="*/ 1148 h 10000"/>
              <a:gd name="connsiteX12" fmla="*/ 4365 w 10012"/>
              <a:gd name="connsiteY12" fmla="*/ 6693 h 10000"/>
              <a:gd name="connsiteX13" fmla="*/ 4577 w 10012"/>
              <a:gd name="connsiteY13" fmla="*/ 6680 h 10000"/>
              <a:gd name="connsiteX14" fmla="*/ 5263 w 10012"/>
              <a:gd name="connsiteY14" fmla="*/ 766 h 10000"/>
              <a:gd name="connsiteX15" fmla="*/ 5262 w 10012"/>
              <a:gd name="connsiteY15" fmla="*/ 745 h 10000"/>
              <a:gd name="connsiteX16" fmla="*/ 5778 w 10012"/>
              <a:gd name="connsiteY16" fmla="*/ 1286 h 10000"/>
              <a:gd name="connsiteX17" fmla="*/ 5946 w 10012"/>
              <a:gd name="connsiteY17" fmla="*/ 0 h 10000"/>
              <a:gd name="connsiteX18" fmla="*/ 6493 w 10012"/>
              <a:gd name="connsiteY18" fmla="*/ 111 h 10000"/>
              <a:gd name="connsiteX19" fmla="*/ 6806 w 10012"/>
              <a:gd name="connsiteY19" fmla="*/ 42 h 10000"/>
              <a:gd name="connsiteX20" fmla="*/ 7003 w 10012"/>
              <a:gd name="connsiteY20" fmla="*/ 361 h 10000"/>
              <a:gd name="connsiteX21" fmla="*/ 7476 w 10012"/>
              <a:gd name="connsiteY21" fmla="*/ 6005 h 10000"/>
              <a:gd name="connsiteX22" fmla="*/ 8179 w 10012"/>
              <a:gd name="connsiteY22" fmla="*/ 6020 h 10000"/>
              <a:gd name="connsiteX23" fmla="*/ 8378 w 10012"/>
              <a:gd name="connsiteY23" fmla="*/ 4920 h 10000"/>
              <a:gd name="connsiteX24" fmla="*/ 8509 w 10012"/>
              <a:gd name="connsiteY24" fmla="*/ 5527 h 10000"/>
              <a:gd name="connsiteX25" fmla="*/ 8594 w 10012"/>
              <a:gd name="connsiteY25" fmla="*/ 4983 h 10000"/>
              <a:gd name="connsiteX26" fmla="*/ 8659 w 10012"/>
              <a:gd name="connsiteY26" fmla="*/ 7656 h 10000"/>
              <a:gd name="connsiteX27" fmla="*/ 8726 w 10012"/>
              <a:gd name="connsiteY27" fmla="*/ 6573 h 10000"/>
              <a:gd name="connsiteX28" fmla="*/ 8822 w 10012"/>
              <a:gd name="connsiteY28" fmla="*/ 7792 h 10000"/>
              <a:gd name="connsiteX29" fmla="*/ 8875 w 10012"/>
              <a:gd name="connsiteY29" fmla="*/ 7573 h 10000"/>
              <a:gd name="connsiteX30" fmla="*/ 8901 w 10012"/>
              <a:gd name="connsiteY30" fmla="*/ 7948 h 10000"/>
              <a:gd name="connsiteX31" fmla="*/ 8998 w 10012"/>
              <a:gd name="connsiteY31" fmla="*/ 7961 h 10000"/>
              <a:gd name="connsiteX32" fmla="*/ 9004 w 10012"/>
              <a:gd name="connsiteY32" fmla="*/ 7688 h 10000"/>
              <a:gd name="connsiteX33" fmla="*/ 9117 w 10012"/>
              <a:gd name="connsiteY33" fmla="*/ 7907 h 10000"/>
              <a:gd name="connsiteX34" fmla="*/ 9180 w 10012"/>
              <a:gd name="connsiteY34" fmla="*/ 7811 h 10000"/>
              <a:gd name="connsiteX35" fmla="*/ 9205 w 10012"/>
              <a:gd name="connsiteY35" fmla="*/ 7352 h 10000"/>
              <a:gd name="connsiteX36" fmla="*/ 9240 w 10012"/>
              <a:gd name="connsiteY36" fmla="*/ 7794 h 10000"/>
              <a:gd name="connsiteX37" fmla="*/ 9319 w 10012"/>
              <a:gd name="connsiteY37" fmla="*/ 7565 h 10000"/>
              <a:gd name="connsiteX38" fmla="*/ 9433 w 10012"/>
              <a:gd name="connsiteY38" fmla="*/ 7687 h 10000"/>
              <a:gd name="connsiteX39" fmla="*/ 9493 w 10012"/>
              <a:gd name="connsiteY39" fmla="*/ 7948 h 10000"/>
              <a:gd name="connsiteX40" fmla="*/ 9527 w 10012"/>
              <a:gd name="connsiteY40" fmla="*/ 7710 h 10000"/>
              <a:gd name="connsiteX41" fmla="*/ 9586 w 10012"/>
              <a:gd name="connsiteY41" fmla="*/ 7913 h 10000"/>
              <a:gd name="connsiteX42" fmla="*/ 9627 w 10012"/>
              <a:gd name="connsiteY42" fmla="*/ 7220 h 10000"/>
              <a:gd name="connsiteX43" fmla="*/ 9733 w 10012"/>
              <a:gd name="connsiteY43" fmla="*/ 7889 h 10000"/>
              <a:gd name="connsiteX44" fmla="*/ 9846 w 10012"/>
              <a:gd name="connsiteY44" fmla="*/ 7547 h 10000"/>
              <a:gd name="connsiteX45" fmla="*/ 9848 w 10012"/>
              <a:gd name="connsiteY45" fmla="*/ 7270 h 10000"/>
              <a:gd name="connsiteX46" fmla="*/ 9934 w 10012"/>
              <a:gd name="connsiteY46" fmla="*/ 7580 h 10000"/>
              <a:gd name="connsiteX47" fmla="*/ 10012 w 10012"/>
              <a:gd name="connsiteY47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2529 w 10012"/>
              <a:gd name="connsiteY5" fmla="*/ 1570 h 10000"/>
              <a:gd name="connsiteX6" fmla="*/ 3124 w 10012"/>
              <a:gd name="connsiteY6" fmla="*/ 1791 h 10000"/>
              <a:gd name="connsiteX7" fmla="*/ 3227 w 10012"/>
              <a:gd name="connsiteY7" fmla="*/ 2820 h 10000"/>
              <a:gd name="connsiteX8" fmla="*/ 3590 w 10012"/>
              <a:gd name="connsiteY8" fmla="*/ 2500 h 10000"/>
              <a:gd name="connsiteX9" fmla="*/ 3685 w 10012"/>
              <a:gd name="connsiteY9" fmla="*/ 1432 h 10000"/>
              <a:gd name="connsiteX10" fmla="*/ 3754 w 10012"/>
              <a:gd name="connsiteY10" fmla="*/ 1148 h 10000"/>
              <a:gd name="connsiteX11" fmla="*/ 4365 w 10012"/>
              <a:gd name="connsiteY11" fmla="*/ 6693 h 10000"/>
              <a:gd name="connsiteX12" fmla="*/ 4577 w 10012"/>
              <a:gd name="connsiteY12" fmla="*/ 6680 h 10000"/>
              <a:gd name="connsiteX13" fmla="*/ 5263 w 10012"/>
              <a:gd name="connsiteY13" fmla="*/ 766 h 10000"/>
              <a:gd name="connsiteX14" fmla="*/ 5262 w 10012"/>
              <a:gd name="connsiteY14" fmla="*/ 745 h 10000"/>
              <a:gd name="connsiteX15" fmla="*/ 5778 w 10012"/>
              <a:gd name="connsiteY15" fmla="*/ 1286 h 10000"/>
              <a:gd name="connsiteX16" fmla="*/ 5946 w 10012"/>
              <a:gd name="connsiteY16" fmla="*/ 0 h 10000"/>
              <a:gd name="connsiteX17" fmla="*/ 6493 w 10012"/>
              <a:gd name="connsiteY17" fmla="*/ 111 h 10000"/>
              <a:gd name="connsiteX18" fmla="*/ 6806 w 10012"/>
              <a:gd name="connsiteY18" fmla="*/ 42 h 10000"/>
              <a:gd name="connsiteX19" fmla="*/ 7003 w 10012"/>
              <a:gd name="connsiteY19" fmla="*/ 361 h 10000"/>
              <a:gd name="connsiteX20" fmla="*/ 7476 w 10012"/>
              <a:gd name="connsiteY20" fmla="*/ 6005 h 10000"/>
              <a:gd name="connsiteX21" fmla="*/ 8179 w 10012"/>
              <a:gd name="connsiteY21" fmla="*/ 6020 h 10000"/>
              <a:gd name="connsiteX22" fmla="*/ 8378 w 10012"/>
              <a:gd name="connsiteY22" fmla="*/ 4920 h 10000"/>
              <a:gd name="connsiteX23" fmla="*/ 8509 w 10012"/>
              <a:gd name="connsiteY23" fmla="*/ 5527 h 10000"/>
              <a:gd name="connsiteX24" fmla="*/ 8594 w 10012"/>
              <a:gd name="connsiteY24" fmla="*/ 4983 h 10000"/>
              <a:gd name="connsiteX25" fmla="*/ 8659 w 10012"/>
              <a:gd name="connsiteY25" fmla="*/ 7656 h 10000"/>
              <a:gd name="connsiteX26" fmla="*/ 8726 w 10012"/>
              <a:gd name="connsiteY26" fmla="*/ 6573 h 10000"/>
              <a:gd name="connsiteX27" fmla="*/ 8822 w 10012"/>
              <a:gd name="connsiteY27" fmla="*/ 7792 h 10000"/>
              <a:gd name="connsiteX28" fmla="*/ 8875 w 10012"/>
              <a:gd name="connsiteY28" fmla="*/ 7573 h 10000"/>
              <a:gd name="connsiteX29" fmla="*/ 8901 w 10012"/>
              <a:gd name="connsiteY29" fmla="*/ 7948 h 10000"/>
              <a:gd name="connsiteX30" fmla="*/ 8998 w 10012"/>
              <a:gd name="connsiteY30" fmla="*/ 7961 h 10000"/>
              <a:gd name="connsiteX31" fmla="*/ 9004 w 10012"/>
              <a:gd name="connsiteY31" fmla="*/ 7688 h 10000"/>
              <a:gd name="connsiteX32" fmla="*/ 9117 w 10012"/>
              <a:gd name="connsiteY32" fmla="*/ 7907 h 10000"/>
              <a:gd name="connsiteX33" fmla="*/ 9180 w 10012"/>
              <a:gd name="connsiteY33" fmla="*/ 7811 h 10000"/>
              <a:gd name="connsiteX34" fmla="*/ 9205 w 10012"/>
              <a:gd name="connsiteY34" fmla="*/ 7352 h 10000"/>
              <a:gd name="connsiteX35" fmla="*/ 9240 w 10012"/>
              <a:gd name="connsiteY35" fmla="*/ 7794 h 10000"/>
              <a:gd name="connsiteX36" fmla="*/ 9319 w 10012"/>
              <a:gd name="connsiteY36" fmla="*/ 7565 h 10000"/>
              <a:gd name="connsiteX37" fmla="*/ 9433 w 10012"/>
              <a:gd name="connsiteY37" fmla="*/ 7687 h 10000"/>
              <a:gd name="connsiteX38" fmla="*/ 9493 w 10012"/>
              <a:gd name="connsiteY38" fmla="*/ 7948 h 10000"/>
              <a:gd name="connsiteX39" fmla="*/ 9527 w 10012"/>
              <a:gd name="connsiteY39" fmla="*/ 7710 h 10000"/>
              <a:gd name="connsiteX40" fmla="*/ 9586 w 10012"/>
              <a:gd name="connsiteY40" fmla="*/ 7913 h 10000"/>
              <a:gd name="connsiteX41" fmla="*/ 9627 w 10012"/>
              <a:gd name="connsiteY41" fmla="*/ 7220 h 10000"/>
              <a:gd name="connsiteX42" fmla="*/ 9733 w 10012"/>
              <a:gd name="connsiteY42" fmla="*/ 7889 h 10000"/>
              <a:gd name="connsiteX43" fmla="*/ 9846 w 10012"/>
              <a:gd name="connsiteY43" fmla="*/ 7547 h 10000"/>
              <a:gd name="connsiteX44" fmla="*/ 9848 w 10012"/>
              <a:gd name="connsiteY44" fmla="*/ 7270 h 10000"/>
              <a:gd name="connsiteX45" fmla="*/ 9934 w 10012"/>
              <a:gd name="connsiteY45" fmla="*/ 7580 h 10000"/>
              <a:gd name="connsiteX46" fmla="*/ 10012 w 10012"/>
              <a:gd name="connsiteY46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3124 w 10012"/>
              <a:gd name="connsiteY5" fmla="*/ 1791 h 10000"/>
              <a:gd name="connsiteX6" fmla="*/ 3227 w 10012"/>
              <a:gd name="connsiteY6" fmla="*/ 2820 h 10000"/>
              <a:gd name="connsiteX7" fmla="*/ 3590 w 10012"/>
              <a:gd name="connsiteY7" fmla="*/ 2500 h 10000"/>
              <a:gd name="connsiteX8" fmla="*/ 3685 w 10012"/>
              <a:gd name="connsiteY8" fmla="*/ 1432 h 10000"/>
              <a:gd name="connsiteX9" fmla="*/ 3754 w 10012"/>
              <a:gd name="connsiteY9" fmla="*/ 1148 h 10000"/>
              <a:gd name="connsiteX10" fmla="*/ 4365 w 10012"/>
              <a:gd name="connsiteY10" fmla="*/ 6693 h 10000"/>
              <a:gd name="connsiteX11" fmla="*/ 4577 w 10012"/>
              <a:gd name="connsiteY11" fmla="*/ 6680 h 10000"/>
              <a:gd name="connsiteX12" fmla="*/ 5263 w 10012"/>
              <a:gd name="connsiteY12" fmla="*/ 766 h 10000"/>
              <a:gd name="connsiteX13" fmla="*/ 5262 w 10012"/>
              <a:gd name="connsiteY13" fmla="*/ 745 h 10000"/>
              <a:gd name="connsiteX14" fmla="*/ 5778 w 10012"/>
              <a:gd name="connsiteY14" fmla="*/ 1286 h 10000"/>
              <a:gd name="connsiteX15" fmla="*/ 5946 w 10012"/>
              <a:gd name="connsiteY15" fmla="*/ 0 h 10000"/>
              <a:gd name="connsiteX16" fmla="*/ 6493 w 10012"/>
              <a:gd name="connsiteY16" fmla="*/ 111 h 10000"/>
              <a:gd name="connsiteX17" fmla="*/ 6806 w 10012"/>
              <a:gd name="connsiteY17" fmla="*/ 42 h 10000"/>
              <a:gd name="connsiteX18" fmla="*/ 7003 w 10012"/>
              <a:gd name="connsiteY18" fmla="*/ 361 h 10000"/>
              <a:gd name="connsiteX19" fmla="*/ 7476 w 10012"/>
              <a:gd name="connsiteY19" fmla="*/ 6005 h 10000"/>
              <a:gd name="connsiteX20" fmla="*/ 8179 w 10012"/>
              <a:gd name="connsiteY20" fmla="*/ 6020 h 10000"/>
              <a:gd name="connsiteX21" fmla="*/ 8378 w 10012"/>
              <a:gd name="connsiteY21" fmla="*/ 4920 h 10000"/>
              <a:gd name="connsiteX22" fmla="*/ 8509 w 10012"/>
              <a:gd name="connsiteY22" fmla="*/ 5527 h 10000"/>
              <a:gd name="connsiteX23" fmla="*/ 8594 w 10012"/>
              <a:gd name="connsiteY23" fmla="*/ 4983 h 10000"/>
              <a:gd name="connsiteX24" fmla="*/ 8659 w 10012"/>
              <a:gd name="connsiteY24" fmla="*/ 7656 h 10000"/>
              <a:gd name="connsiteX25" fmla="*/ 8726 w 10012"/>
              <a:gd name="connsiteY25" fmla="*/ 6573 h 10000"/>
              <a:gd name="connsiteX26" fmla="*/ 8822 w 10012"/>
              <a:gd name="connsiteY26" fmla="*/ 7792 h 10000"/>
              <a:gd name="connsiteX27" fmla="*/ 8875 w 10012"/>
              <a:gd name="connsiteY27" fmla="*/ 7573 h 10000"/>
              <a:gd name="connsiteX28" fmla="*/ 8901 w 10012"/>
              <a:gd name="connsiteY28" fmla="*/ 7948 h 10000"/>
              <a:gd name="connsiteX29" fmla="*/ 8998 w 10012"/>
              <a:gd name="connsiteY29" fmla="*/ 7961 h 10000"/>
              <a:gd name="connsiteX30" fmla="*/ 9004 w 10012"/>
              <a:gd name="connsiteY30" fmla="*/ 7688 h 10000"/>
              <a:gd name="connsiteX31" fmla="*/ 9117 w 10012"/>
              <a:gd name="connsiteY31" fmla="*/ 7907 h 10000"/>
              <a:gd name="connsiteX32" fmla="*/ 9180 w 10012"/>
              <a:gd name="connsiteY32" fmla="*/ 7811 h 10000"/>
              <a:gd name="connsiteX33" fmla="*/ 9205 w 10012"/>
              <a:gd name="connsiteY33" fmla="*/ 7352 h 10000"/>
              <a:gd name="connsiteX34" fmla="*/ 9240 w 10012"/>
              <a:gd name="connsiteY34" fmla="*/ 7794 h 10000"/>
              <a:gd name="connsiteX35" fmla="*/ 9319 w 10012"/>
              <a:gd name="connsiteY35" fmla="*/ 7565 h 10000"/>
              <a:gd name="connsiteX36" fmla="*/ 9433 w 10012"/>
              <a:gd name="connsiteY36" fmla="*/ 7687 h 10000"/>
              <a:gd name="connsiteX37" fmla="*/ 9493 w 10012"/>
              <a:gd name="connsiteY37" fmla="*/ 7948 h 10000"/>
              <a:gd name="connsiteX38" fmla="*/ 9527 w 10012"/>
              <a:gd name="connsiteY38" fmla="*/ 7710 h 10000"/>
              <a:gd name="connsiteX39" fmla="*/ 9586 w 10012"/>
              <a:gd name="connsiteY39" fmla="*/ 7913 h 10000"/>
              <a:gd name="connsiteX40" fmla="*/ 9627 w 10012"/>
              <a:gd name="connsiteY40" fmla="*/ 7220 h 10000"/>
              <a:gd name="connsiteX41" fmla="*/ 9733 w 10012"/>
              <a:gd name="connsiteY41" fmla="*/ 7889 h 10000"/>
              <a:gd name="connsiteX42" fmla="*/ 9846 w 10012"/>
              <a:gd name="connsiteY42" fmla="*/ 7547 h 10000"/>
              <a:gd name="connsiteX43" fmla="*/ 9848 w 10012"/>
              <a:gd name="connsiteY43" fmla="*/ 7270 h 10000"/>
              <a:gd name="connsiteX44" fmla="*/ 9934 w 10012"/>
              <a:gd name="connsiteY44" fmla="*/ 7580 h 10000"/>
              <a:gd name="connsiteX45" fmla="*/ 10012 w 10012"/>
              <a:gd name="connsiteY4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1007 w 10012"/>
              <a:gd name="connsiteY3" fmla="*/ 1570 h 10000"/>
              <a:gd name="connsiteX4" fmla="*/ 3124 w 10012"/>
              <a:gd name="connsiteY4" fmla="*/ 1791 h 10000"/>
              <a:gd name="connsiteX5" fmla="*/ 3227 w 10012"/>
              <a:gd name="connsiteY5" fmla="*/ 2820 h 10000"/>
              <a:gd name="connsiteX6" fmla="*/ 3590 w 10012"/>
              <a:gd name="connsiteY6" fmla="*/ 2500 h 10000"/>
              <a:gd name="connsiteX7" fmla="*/ 3685 w 10012"/>
              <a:gd name="connsiteY7" fmla="*/ 1432 h 10000"/>
              <a:gd name="connsiteX8" fmla="*/ 3754 w 10012"/>
              <a:gd name="connsiteY8" fmla="*/ 1148 h 10000"/>
              <a:gd name="connsiteX9" fmla="*/ 4365 w 10012"/>
              <a:gd name="connsiteY9" fmla="*/ 6693 h 10000"/>
              <a:gd name="connsiteX10" fmla="*/ 4577 w 10012"/>
              <a:gd name="connsiteY10" fmla="*/ 6680 h 10000"/>
              <a:gd name="connsiteX11" fmla="*/ 5263 w 10012"/>
              <a:gd name="connsiteY11" fmla="*/ 766 h 10000"/>
              <a:gd name="connsiteX12" fmla="*/ 5262 w 10012"/>
              <a:gd name="connsiteY12" fmla="*/ 745 h 10000"/>
              <a:gd name="connsiteX13" fmla="*/ 5778 w 10012"/>
              <a:gd name="connsiteY13" fmla="*/ 1286 h 10000"/>
              <a:gd name="connsiteX14" fmla="*/ 5946 w 10012"/>
              <a:gd name="connsiteY14" fmla="*/ 0 h 10000"/>
              <a:gd name="connsiteX15" fmla="*/ 6493 w 10012"/>
              <a:gd name="connsiteY15" fmla="*/ 111 h 10000"/>
              <a:gd name="connsiteX16" fmla="*/ 6806 w 10012"/>
              <a:gd name="connsiteY16" fmla="*/ 42 h 10000"/>
              <a:gd name="connsiteX17" fmla="*/ 7003 w 10012"/>
              <a:gd name="connsiteY17" fmla="*/ 361 h 10000"/>
              <a:gd name="connsiteX18" fmla="*/ 7476 w 10012"/>
              <a:gd name="connsiteY18" fmla="*/ 6005 h 10000"/>
              <a:gd name="connsiteX19" fmla="*/ 8179 w 10012"/>
              <a:gd name="connsiteY19" fmla="*/ 6020 h 10000"/>
              <a:gd name="connsiteX20" fmla="*/ 8378 w 10012"/>
              <a:gd name="connsiteY20" fmla="*/ 4920 h 10000"/>
              <a:gd name="connsiteX21" fmla="*/ 8509 w 10012"/>
              <a:gd name="connsiteY21" fmla="*/ 5527 h 10000"/>
              <a:gd name="connsiteX22" fmla="*/ 8594 w 10012"/>
              <a:gd name="connsiteY22" fmla="*/ 4983 h 10000"/>
              <a:gd name="connsiteX23" fmla="*/ 8659 w 10012"/>
              <a:gd name="connsiteY23" fmla="*/ 7656 h 10000"/>
              <a:gd name="connsiteX24" fmla="*/ 8726 w 10012"/>
              <a:gd name="connsiteY24" fmla="*/ 6573 h 10000"/>
              <a:gd name="connsiteX25" fmla="*/ 8822 w 10012"/>
              <a:gd name="connsiteY25" fmla="*/ 7792 h 10000"/>
              <a:gd name="connsiteX26" fmla="*/ 8875 w 10012"/>
              <a:gd name="connsiteY26" fmla="*/ 7573 h 10000"/>
              <a:gd name="connsiteX27" fmla="*/ 8901 w 10012"/>
              <a:gd name="connsiteY27" fmla="*/ 7948 h 10000"/>
              <a:gd name="connsiteX28" fmla="*/ 8998 w 10012"/>
              <a:gd name="connsiteY28" fmla="*/ 7961 h 10000"/>
              <a:gd name="connsiteX29" fmla="*/ 9004 w 10012"/>
              <a:gd name="connsiteY29" fmla="*/ 7688 h 10000"/>
              <a:gd name="connsiteX30" fmla="*/ 9117 w 10012"/>
              <a:gd name="connsiteY30" fmla="*/ 7907 h 10000"/>
              <a:gd name="connsiteX31" fmla="*/ 9180 w 10012"/>
              <a:gd name="connsiteY31" fmla="*/ 7811 h 10000"/>
              <a:gd name="connsiteX32" fmla="*/ 9205 w 10012"/>
              <a:gd name="connsiteY32" fmla="*/ 7352 h 10000"/>
              <a:gd name="connsiteX33" fmla="*/ 9240 w 10012"/>
              <a:gd name="connsiteY33" fmla="*/ 7794 h 10000"/>
              <a:gd name="connsiteX34" fmla="*/ 9319 w 10012"/>
              <a:gd name="connsiteY34" fmla="*/ 7565 h 10000"/>
              <a:gd name="connsiteX35" fmla="*/ 9433 w 10012"/>
              <a:gd name="connsiteY35" fmla="*/ 7687 h 10000"/>
              <a:gd name="connsiteX36" fmla="*/ 9493 w 10012"/>
              <a:gd name="connsiteY36" fmla="*/ 7948 h 10000"/>
              <a:gd name="connsiteX37" fmla="*/ 9527 w 10012"/>
              <a:gd name="connsiteY37" fmla="*/ 7710 h 10000"/>
              <a:gd name="connsiteX38" fmla="*/ 9586 w 10012"/>
              <a:gd name="connsiteY38" fmla="*/ 7913 h 10000"/>
              <a:gd name="connsiteX39" fmla="*/ 9627 w 10012"/>
              <a:gd name="connsiteY39" fmla="*/ 7220 h 10000"/>
              <a:gd name="connsiteX40" fmla="*/ 9733 w 10012"/>
              <a:gd name="connsiteY40" fmla="*/ 7889 h 10000"/>
              <a:gd name="connsiteX41" fmla="*/ 9846 w 10012"/>
              <a:gd name="connsiteY41" fmla="*/ 7547 h 10000"/>
              <a:gd name="connsiteX42" fmla="*/ 9848 w 10012"/>
              <a:gd name="connsiteY42" fmla="*/ 7270 h 10000"/>
              <a:gd name="connsiteX43" fmla="*/ 9934 w 10012"/>
              <a:gd name="connsiteY43" fmla="*/ 7580 h 10000"/>
              <a:gd name="connsiteX44" fmla="*/ 10012 w 10012"/>
              <a:gd name="connsiteY44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1429 w 10012"/>
              <a:gd name="connsiteY3" fmla="*/ 2084 h 10000"/>
              <a:gd name="connsiteX4" fmla="*/ 3124 w 10012"/>
              <a:gd name="connsiteY4" fmla="*/ 1791 h 10000"/>
              <a:gd name="connsiteX5" fmla="*/ 3227 w 10012"/>
              <a:gd name="connsiteY5" fmla="*/ 2820 h 10000"/>
              <a:gd name="connsiteX6" fmla="*/ 3590 w 10012"/>
              <a:gd name="connsiteY6" fmla="*/ 2500 h 10000"/>
              <a:gd name="connsiteX7" fmla="*/ 3685 w 10012"/>
              <a:gd name="connsiteY7" fmla="*/ 1432 h 10000"/>
              <a:gd name="connsiteX8" fmla="*/ 3754 w 10012"/>
              <a:gd name="connsiteY8" fmla="*/ 1148 h 10000"/>
              <a:gd name="connsiteX9" fmla="*/ 4365 w 10012"/>
              <a:gd name="connsiteY9" fmla="*/ 6693 h 10000"/>
              <a:gd name="connsiteX10" fmla="*/ 4577 w 10012"/>
              <a:gd name="connsiteY10" fmla="*/ 6680 h 10000"/>
              <a:gd name="connsiteX11" fmla="*/ 5263 w 10012"/>
              <a:gd name="connsiteY11" fmla="*/ 766 h 10000"/>
              <a:gd name="connsiteX12" fmla="*/ 5262 w 10012"/>
              <a:gd name="connsiteY12" fmla="*/ 745 h 10000"/>
              <a:gd name="connsiteX13" fmla="*/ 5778 w 10012"/>
              <a:gd name="connsiteY13" fmla="*/ 1286 h 10000"/>
              <a:gd name="connsiteX14" fmla="*/ 5946 w 10012"/>
              <a:gd name="connsiteY14" fmla="*/ 0 h 10000"/>
              <a:gd name="connsiteX15" fmla="*/ 6493 w 10012"/>
              <a:gd name="connsiteY15" fmla="*/ 111 h 10000"/>
              <a:gd name="connsiteX16" fmla="*/ 6806 w 10012"/>
              <a:gd name="connsiteY16" fmla="*/ 42 h 10000"/>
              <a:gd name="connsiteX17" fmla="*/ 7003 w 10012"/>
              <a:gd name="connsiteY17" fmla="*/ 361 h 10000"/>
              <a:gd name="connsiteX18" fmla="*/ 7476 w 10012"/>
              <a:gd name="connsiteY18" fmla="*/ 6005 h 10000"/>
              <a:gd name="connsiteX19" fmla="*/ 8179 w 10012"/>
              <a:gd name="connsiteY19" fmla="*/ 6020 h 10000"/>
              <a:gd name="connsiteX20" fmla="*/ 8378 w 10012"/>
              <a:gd name="connsiteY20" fmla="*/ 4920 h 10000"/>
              <a:gd name="connsiteX21" fmla="*/ 8509 w 10012"/>
              <a:gd name="connsiteY21" fmla="*/ 5527 h 10000"/>
              <a:gd name="connsiteX22" fmla="*/ 8594 w 10012"/>
              <a:gd name="connsiteY22" fmla="*/ 4983 h 10000"/>
              <a:gd name="connsiteX23" fmla="*/ 8659 w 10012"/>
              <a:gd name="connsiteY23" fmla="*/ 7656 h 10000"/>
              <a:gd name="connsiteX24" fmla="*/ 8726 w 10012"/>
              <a:gd name="connsiteY24" fmla="*/ 6573 h 10000"/>
              <a:gd name="connsiteX25" fmla="*/ 8822 w 10012"/>
              <a:gd name="connsiteY25" fmla="*/ 7792 h 10000"/>
              <a:gd name="connsiteX26" fmla="*/ 8875 w 10012"/>
              <a:gd name="connsiteY26" fmla="*/ 7573 h 10000"/>
              <a:gd name="connsiteX27" fmla="*/ 8901 w 10012"/>
              <a:gd name="connsiteY27" fmla="*/ 7948 h 10000"/>
              <a:gd name="connsiteX28" fmla="*/ 8998 w 10012"/>
              <a:gd name="connsiteY28" fmla="*/ 7961 h 10000"/>
              <a:gd name="connsiteX29" fmla="*/ 9004 w 10012"/>
              <a:gd name="connsiteY29" fmla="*/ 7688 h 10000"/>
              <a:gd name="connsiteX30" fmla="*/ 9117 w 10012"/>
              <a:gd name="connsiteY30" fmla="*/ 7907 h 10000"/>
              <a:gd name="connsiteX31" fmla="*/ 9180 w 10012"/>
              <a:gd name="connsiteY31" fmla="*/ 7811 h 10000"/>
              <a:gd name="connsiteX32" fmla="*/ 9205 w 10012"/>
              <a:gd name="connsiteY32" fmla="*/ 7352 h 10000"/>
              <a:gd name="connsiteX33" fmla="*/ 9240 w 10012"/>
              <a:gd name="connsiteY33" fmla="*/ 7794 h 10000"/>
              <a:gd name="connsiteX34" fmla="*/ 9319 w 10012"/>
              <a:gd name="connsiteY34" fmla="*/ 7565 h 10000"/>
              <a:gd name="connsiteX35" fmla="*/ 9433 w 10012"/>
              <a:gd name="connsiteY35" fmla="*/ 7687 h 10000"/>
              <a:gd name="connsiteX36" fmla="*/ 9493 w 10012"/>
              <a:gd name="connsiteY36" fmla="*/ 7948 h 10000"/>
              <a:gd name="connsiteX37" fmla="*/ 9527 w 10012"/>
              <a:gd name="connsiteY37" fmla="*/ 7710 h 10000"/>
              <a:gd name="connsiteX38" fmla="*/ 9586 w 10012"/>
              <a:gd name="connsiteY38" fmla="*/ 7913 h 10000"/>
              <a:gd name="connsiteX39" fmla="*/ 9627 w 10012"/>
              <a:gd name="connsiteY39" fmla="*/ 7220 h 10000"/>
              <a:gd name="connsiteX40" fmla="*/ 9733 w 10012"/>
              <a:gd name="connsiteY40" fmla="*/ 7889 h 10000"/>
              <a:gd name="connsiteX41" fmla="*/ 9846 w 10012"/>
              <a:gd name="connsiteY41" fmla="*/ 7547 h 10000"/>
              <a:gd name="connsiteX42" fmla="*/ 9848 w 10012"/>
              <a:gd name="connsiteY42" fmla="*/ 7270 h 10000"/>
              <a:gd name="connsiteX43" fmla="*/ 9934 w 10012"/>
              <a:gd name="connsiteY43" fmla="*/ 7580 h 10000"/>
              <a:gd name="connsiteX44" fmla="*/ 10012 w 10012"/>
              <a:gd name="connsiteY44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805 w 10012"/>
              <a:gd name="connsiteY3" fmla="*/ 1925 h 10000"/>
              <a:gd name="connsiteX4" fmla="*/ 1429 w 10012"/>
              <a:gd name="connsiteY4" fmla="*/ 2084 h 10000"/>
              <a:gd name="connsiteX5" fmla="*/ 3124 w 10012"/>
              <a:gd name="connsiteY5" fmla="*/ 1791 h 10000"/>
              <a:gd name="connsiteX6" fmla="*/ 3227 w 10012"/>
              <a:gd name="connsiteY6" fmla="*/ 2820 h 10000"/>
              <a:gd name="connsiteX7" fmla="*/ 3590 w 10012"/>
              <a:gd name="connsiteY7" fmla="*/ 2500 h 10000"/>
              <a:gd name="connsiteX8" fmla="*/ 3685 w 10012"/>
              <a:gd name="connsiteY8" fmla="*/ 1432 h 10000"/>
              <a:gd name="connsiteX9" fmla="*/ 3754 w 10012"/>
              <a:gd name="connsiteY9" fmla="*/ 1148 h 10000"/>
              <a:gd name="connsiteX10" fmla="*/ 4365 w 10012"/>
              <a:gd name="connsiteY10" fmla="*/ 6693 h 10000"/>
              <a:gd name="connsiteX11" fmla="*/ 4577 w 10012"/>
              <a:gd name="connsiteY11" fmla="*/ 6680 h 10000"/>
              <a:gd name="connsiteX12" fmla="*/ 5263 w 10012"/>
              <a:gd name="connsiteY12" fmla="*/ 766 h 10000"/>
              <a:gd name="connsiteX13" fmla="*/ 5262 w 10012"/>
              <a:gd name="connsiteY13" fmla="*/ 745 h 10000"/>
              <a:gd name="connsiteX14" fmla="*/ 5778 w 10012"/>
              <a:gd name="connsiteY14" fmla="*/ 1286 h 10000"/>
              <a:gd name="connsiteX15" fmla="*/ 5946 w 10012"/>
              <a:gd name="connsiteY15" fmla="*/ 0 h 10000"/>
              <a:gd name="connsiteX16" fmla="*/ 6493 w 10012"/>
              <a:gd name="connsiteY16" fmla="*/ 111 h 10000"/>
              <a:gd name="connsiteX17" fmla="*/ 6806 w 10012"/>
              <a:gd name="connsiteY17" fmla="*/ 42 h 10000"/>
              <a:gd name="connsiteX18" fmla="*/ 7003 w 10012"/>
              <a:gd name="connsiteY18" fmla="*/ 361 h 10000"/>
              <a:gd name="connsiteX19" fmla="*/ 7476 w 10012"/>
              <a:gd name="connsiteY19" fmla="*/ 6005 h 10000"/>
              <a:gd name="connsiteX20" fmla="*/ 8179 w 10012"/>
              <a:gd name="connsiteY20" fmla="*/ 6020 h 10000"/>
              <a:gd name="connsiteX21" fmla="*/ 8378 w 10012"/>
              <a:gd name="connsiteY21" fmla="*/ 4920 h 10000"/>
              <a:gd name="connsiteX22" fmla="*/ 8509 w 10012"/>
              <a:gd name="connsiteY22" fmla="*/ 5527 h 10000"/>
              <a:gd name="connsiteX23" fmla="*/ 8594 w 10012"/>
              <a:gd name="connsiteY23" fmla="*/ 4983 h 10000"/>
              <a:gd name="connsiteX24" fmla="*/ 8659 w 10012"/>
              <a:gd name="connsiteY24" fmla="*/ 7656 h 10000"/>
              <a:gd name="connsiteX25" fmla="*/ 8726 w 10012"/>
              <a:gd name="connsiteY25" fmla="*/ 6573 h 10000"/>
              <a:gd name="connsiteX26" fmla="*/ 8822 w 10012"/>
              <a:gd name="connsiteY26" fmla="*/ 7792 h 10000"/>
              <a:gd name="connsiteX27" fmla="*/ 8875 w 10012"/>
              <a:gd name="connsiteY27" fmla="*/ 7573 h 10000"/>
              <a:gd name="connsiteX28" fmla="*/ 8901 w 10012"/>
              <a:gd name="connsiteY28" fmla="*/ 7948 h 10000"/>
              <a:gd name="connsiteX29" fmla="*/ 8998 w 10012"/>
              <a:gd name="connsiteY29" fmla="*/ 7961 h 10000"/>
              <a:gd name="connsiteX30" fmla="*/ 9004 w 10012"/>
              <a:gd name="connsiteY30" fmla="*/ 7688 h 10000"/>
              <a:gd name="connsiteX31" fmla="*/ 9117 w 10012"/>
              <a:gd name="connsiteY31" fmla="*/ 7907 h 10000"/>
              <a:gd name="connsiteX32" fmla="*/ 9180 w 10012"/>
              <a:gd name="connsiteY32" fmla="*/ 7811 h 10000"/>
              <a:gd name="connsiteX33" fmla="*/ 9205 w 10012"/>
              <a:gd name="connsiteY33" fmla="*/ 7352 h 10000"/>
              <a:gd name="connsiteX34" fmla="*/ 9240 w 10012"/>
              <a:gd name="connsiteY34" fmla="*/ 7794 h 10000"/>
              <a:gd name="connsiteX35" fmla="*/ 9319 w 10012"/>
              <a:gd name="connsiteY35" fmla="*/ 7565 h 10000"/>
              <a:gd name="connsiteX36" fmla="*/ 9433 w 10012"/>
              <a:gd name="connsiteY36" fmla="*/ 7687 h 10000"/>
              <a:gd name="connsiteX37" fmla="*/ 9493 w 10012"/>
              <a:gd name="connsiteY37" fmla="*/ 7948 h 10000"/>
              <a:gd name="connsiteX38" fmla="*/ 9527 w 10012"/>
              <a:gd name="connsiteY38" fmla="*/ 7710 h 10000"/>
              <a:gd name="connsiteX39" fmla="*/ 9586 w 10012"/>
              <a:gd name="connsiteY39" fmla="*/ 7913 h 10000"/>
              <a:gd name="connsiteX40" fmla="*/ 9627 w 10012"/>
              <a:gd name="connsiteY40" fmla="*/ 7220 h 10000"/>
              <a:gd name="connsiteX41" fmla="*/ 9733 w 10012"/>
              <a:gd name="connsiteY41" fmla="*/ 7889 h 10000"/>
              <a:gd name="connsiteX42" fmla="*/ 9846 w 10012"/>
              <a:gd name="connsiteY42" fmla="*/ 7547 h 10000"/>
              <a:gd name="connsiteX43" fmla="*/ 9848 w 10012"/>
              <a:gd name="connsiteY43" fmla="*/ 7270 h 10000"/>
              <a:gd name="connsiteX44" fmla="*/ 9934 w 10012"/>
              <a:gd name="connsiteY44" fmla="*/ 7580 h 10000"/>
              <a:gd name="connsiteX45" fmla="*/ 10012 w 10012"/>
              <a:gd name="connsiteY4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805 w 10012"/>
              <a:gd name="connsiteY3" fmla="*/ 1925 h 10000"/>
              <a:gd name="connsiteX4" fmla="*/ 1453 w 10012"/>
              <a:gd name="connsiteY4" fmla="*/ 1904 h 10000"/>
              <a:gd name="connsiteX5" fmla="*/ 3124 w 10012"/>
              <a:gd name="connsiteY5" fmla="*/ 1791 h 10000"/>
              <a:gd name="connsiteX6" fmla="*/ 3227 w 10012"/>
              <a:gd name="connsiteY6" fmla="*/ 2820 h 10000"/>
              <a:gd name="connsiteX7" fmla="*/ 3590 w 10012"/>
              <a:gd name="connsiteY7" fmla="*/ 2500 h 10000"/>
              <a:gd name="connsiteX8" fmla="*/ 3685 w 10012"/>
              <a:gd name="connsiteY8" fmla="*/ 1432 h 10000"/>
              <a:gd name="connsiteX9" fmla="*/ 3754 w 10012"/>
              <a:gd name="connsiteY9" fmla="*/ 1148 h 10000"/>
              <a:gd name="connsiteX10" fmla="*/ 4365 w 10012"/>
              <a:gd name="connsiteY10" fmla="*/ 6693 h 10000"/>
              <a:gd name="connsiteX11" fmla="*/ 4577 w 10012"/>
              <a:gd name="connsiteY11" fmla="*/ 6680 h 10000"/>
              <a:gd name="connsiteX12" fmla="*/ 5263 w 10012"/>
              <a:gd name="connsiteY12" fmla="*/ 766 h 10000"/>
              <a:gd name="connsiteX13" fmla="*/ 5262 w 10012"/>
              <a:gd name="connsiteY13" fmla="*/ 745 h 10000"/>
              <a:gd name="connsiteX14" fmla="*/ 5778 w 10012"/>
              <a:gd name="connsiteY14" fmla="*/ 1286 h 10000"/>
              <a:gd name="connsiteX15" fmla="*/ 5946 w 10012"/>
              <a:gd name="connsiteY15" fmla="*/ 0 h 10000"/>
              <a:gd name="connsiteX16" fmla="*/ 6493 w 10012"/>
              <a:gd name="connsiteY16" fmla="*/ 111 h 10000"/>
              <a:gd name="connsiteX17" fmla="*/ 6806 w 10012"/>
              <a:gd name="connsiteY17" fmla="*/ 42 h 10000"/>
              <a:gd name="connsiteX18" fmla="*/ 7003 w 10012"/>
              <a:gd name="connsiteY18" fmla="*/ 361 h 10000"/>
              <a:gd name="connsiteX19" fmla="*/ 7476 w 10012"/>
              <a:gd name="connsiteY19" fmla="*/ 6005 h 10000"/>
              <a:gd name="connsiteX20" fmla="*/ 8179 w 10012"/>
              <a:gd name="connsiteY20" fmla="*/ 6020 h 10000"/>
              <a:gd name="connsiteX21" fmla="*/ 8378 w 10012"/>
              <a:gd name="connsiteY21" fmla="*/ 4920 h 10000"/>
              <a:gd name="connsiteX22" fmla="*/ 8509 w 10012"/>
              <a:gd name="connsiteY22" fmla="*/ 5527 h 10000"/>
              <a:gd name="connsiteX23" fmla="*/ 8594 w 10012"/>
              <a:gd name="connsiteY23" fmla="*/ 4983 h 10000"/>
              <a:gd name="connsiteX24" fmla="*/ 8659 w 10012"/>
              <a:gd name="connsiteY24" fmla="*/ 7656 h 10000"/>
              <a:gd name="connsiteX25" fmla="*/ 8726 w 10012"/>
              <a:gd name="connsiteY25" fmla="*/ 6573 h 10000"/>
              <a:gd name="connsiteX26" fmla="*/ 8822 w 10012"/>
              <a:gd name="connsiteY26" fmla="*/ 7792 h 10000"/>
              <a:gd name="connsiteX27" fmla="*/ 8875 w 10012"/>
              <a:gd name="connsiteY27" fmla="*/ 7573 h 10000"/>
              <a:gd name="connsiteX28" fmla="*/ 8901 w 10012"/>
              <a:gd name="connsiteY28" fmla="*/ 7948 h 10000"/>
              <a:gd name="connsiteX29" fmla="*/ 8998 w 10012"/>
              <a:gd name="connsiteY29" fmla="*/ 7961 h 10000"/>
              <a:gd name="connsiteX30" fmla="*/ 9004 w 10012"/>
              <a:gd name="connsiteY30" fmla="*/ 7688 h 10000"/>
              <a:gd name="connsiteX31" fmla="*/ 9117 w 10012"/>
              <a:gd name="connsiteY31" fmla="*/ 7907 h 10000"/>
              <a:gd name="connsiteX32" fmla="*/ 9180 w 10012"/>
              <a:gd name="connsiteY32" fmla="*/ 7811 h 10000"/>
              <a:gd name="connsiteX33" fmla="*/ 9205 w 10012"/>
              <a:gd name="connsiteY33" fmla="*/ 7352 h 10000"/>
              <a:gd name="connsiteX34" fmla="*/ 9240 w 10012"/>
              <a:gd name="connsiteY34" fmla="*/ 7794 h 10000"/>
              <a:gd name="connsiteX35" fmla="*/ 9319 w 10012"/>
              <a:gd name="connsiteY35" fmla="*/ 7565 h 10000"/>
              <a:gd name="connsiteX36" fmla="*/ 9433 w 10012"/>
              <a:gd name="connsiteY36" fmla="*/ 7687 h 10000"/>
              <a:gd name="connsiteX37" fmla="*/ 9493 w 10012"/>
              <a:gd name="connsiteY37" fmla="*/ 7948 h 10000"/>
              <a:gd name="connsiteX38" fmla="*/ 9527 w 10012"/>
              <a:gd name="connsiteY38" fmla="*/ 7710 h 10000"/>
              <a:gd name="connsiteX39" fmla="*/ 9586 w 10012"/>
              <a:gd name="connsiteY39" fmla="*/ 7913 h 10000"/>
              <a:gd name="connsiteX40" fmla="*/ 9627 w 10012"/>
              <a:gd name="connsiteY40" fmla="*/ 7220 h 10000"/>
              <a:gd name="connsiteX41" fmla="*/ 9733 w 10012"/>
              <a:gd name="connsiteY41" fmla="*/ 7889 h 10000"/>
              <a:gd name="connsiteX42" fmla="*/ 9846 w 10012"/>
              <a:gd name="connsiteY42" fmla="*/ 7547 h 10000"/>
              <a:gd name="connsiteX43" fmla="*/ 9848 w 10012"/>
              <a:gd name="connsiteY43" fmla="*/ 7270 h 10000"/>
              <a:gd name="connsiteX44" fmla="*/ 9934 w 10012"/>
              <a:gd name="connsiteY44" fmla="*/ 7580 h 10000"/>
              <a:gd name="connsiteX45" fmla="*/ 10012 w 10012"/>
              <a:gd name="connsiteY4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805 w 10012"/>
              <a:gd name="connsiteY3" fmla="*/ 1925 h 10000"/>
              <a:gd name="connsiteX4" fmla="*/ 1461 w 10012"/>
              <a:gd name="connsiteY4" fmla="*/ 2238 h 10000"/>
              <a:gd name="connsiteX5" fmla="*/ 3124 w 10012"/>
              <a:gd name="connsiteY5" fmla="*/ 1791 h 10000"/>
              <a:gd name="connsiteX6" fmla="*/ 3227 w 10012"/>
              <a:gd name="connsiteY6" fmla="*/ 2820 h 10000"/>
              <a:gd name="connsiteX7" fmla="*/ 3590 w 10012"/>
              <a:gd name="connsiteY7" fmla="*/ 2500 h 10000"/>
              <a:gd name="connsiteX8" fmla="*/ 3685 w 10012"/>
              <a:gd name="connsiteY8" fmla="*/ 1432 h 10000"/>
              <a:gd name="connsiteX9" fmla="*/ 3754 w 10012"/>
              <a:gd name="connsiteY9" fmla="*/ 1148 h 10000"/>
              <a:gd name="connsiteX10" fmla="*/ 4365 w 10012"/>
              <a:gd name="connsiteY10" fmla="*/ 6693 h 10000"/>
              <a:gd name="connsiteX11" fmla="*/ 4577 w 10012"/>
              <a:gd name="connsiteY11" fmla="*/ 6680 h 10000"/>
              <a:gd name="connsiteX12" fmla="*/ 5263 w 10012"/>
              <a:gd name="connsiteY12" fmla="*/ 766 h 10000"/>
              <a:gd name="connsiteX13" fmla="*/ 5262 w 10012"/>
              <a:gd name="connsiteY13" fmla="*/ 745 h 10000"/>
              <a:gd name="connsiteX14" fmla="*/ 5778 w 10012"/>
              <a:gd name="connsiteY14" fmla="*/ 1286 h 10000"/>
              <a:gd name="connsiteX15" fmla="*/ 5946 w 10012"/>
              <a:gd name="connsiteY15" fmla="*/ 0 h 10000"/>
              <a:gd name="connsiteX16" fmla="*/ 6493 w 10012"/>
              <a:gd name="connsiteY16" fmla="*/ 111 h 10000"/>
              <a:gd name="connsiteX17" fmla="*/ 6806 w 10012"/>
              <a:gd name="connsiteY17" fmla="*/ 42 h 10000"/>
              <a:gd name="connsiteX18" fmla="*/ 7003 w 10012"/>
              <a:gd name="connsiteY18" fmla="*/ 361 h 10000"/>
              <a:gd name="connsiteX19" fmla="*/ 7476 w 10012"/>
              <a:gd name="connsiteY19" fmla="*/ 6005 h 10000"/>
              <a:gd name="connsiteX20" fmla="*/ 8179 w 10012"/>
              <a:gd name="connsiteY20" fmla="*/ 6020 h 10000"/>
              <a:gd name="connsiteX21" fmla="*/ 8378 w 10012"/>
              <a:gd name="connsiteY21" fmla="*/ 4920 h 10000"/>
              <a:gd name="connsiteX22" fmla="*/ 8509 w 10012"/>
              <a:gd name="connsiteY22" fmla="*/ 5527 h 10000"/>
              <a:gd name="connsiteX23" fmla="*/ 8594 w 10012"/>
              <a:gd name="connsiteY23" fmla="*/ 4983 h 10000"/>
              <a:gd name="connsiteX24" fmla="*/ 8659 w 10012"/>
              <a:gd name="connsiteY24" fmla="*/ 7656 h 10000"/>
              <a:gd name="connsiteX25" fmla="*/ 8726 w 10012"/>
              <a:gd name="connsiteY25" fmla="*/ 6573 h 10000"/>
              <a:gd name="connsiteX26" fmla="*/ 8822 w 10012"/>
              <a:gd name="connsiteY26" fmla="*/ 7792 h 10000"/>
              <a:gd name="connsiteX27" fmla="*/ 8875 w 10012"/>
              <a:gd name="connsiteY27" fmla="*/ 7573 h 10000"/>
              <a:gd name="connsiteX28" fmla="*/ 8901 w 10012"/>
              <a:gd name="connsiteY28" fmla="*/ 7948 h 10000"/>
              <a:gd name="connsiteX29" fmla="*/ 8998 w 10012"/>
              <a:gd name="connsiteY29" fmla="*/ 7961 h 10000"/>
              <a:gd name="connsiteX30" fmla="*/ 9004 w 10012"/>
              <a:gd name="connsiteY30" fmla="*/ 7688 h 10000"/>
              <a:gd name="connsiteX31" fmla="*/ 9117 w 10012"/>
              <a:gd name="connsiteY31" fmla="*/ 7907 h 10000"/>
              <a:gd name="connsiteX32" fmla="*/ 9180 w 10012"/>
              <a:gd name="connsiteY32" fmla="*/ 7811 h 10000"/>
              <a:gd name="connsiteX33" fmla="*/ 9205 w 10012"/>
              <a:gd name="connsiteY33" fmla="*/ 7352 h 10000"/>
              <a:gd name="connsiteX34" fmla="*/ 9240 w 10012"/>
              <a:gd name="connsiteY34" fmla="*/ 7794 h 10000"/>
              <a:gd name="connsiteX35" fmla="*/ 9319 w 10012"/>
              <a:gd name="connsiteY35" fmla="*/ 7565 h 10000"/>
              <a:gd name="connsiteX36" fmla="*/ 9433 w 10012"/>
              <a:gd name="connsiteY36" fmla="*/ 7687 h 10000"/>
              <a:gd name="connsiteX37" fmla="*/ 9493 w 10012"/>
              <a:gd name="connsiteY37" fmla="*/ 7948 h 10000"/>
              <a:gd name="connsiteX38" fmla="*/ 9527 w 10012"/>
              <a:gd name="connsiteY38" fmla="*/ 7710 h 10000"/>
              <a:gd name="connsiteX39" fmla="*/ 9586 w 10012"/>
              <a:gd name="connsiteY39" fmla="*/ 7913 h 10000"/>
              <a:gd name="connsiteX40" fmla="*/ 9627 w 10012"/>
              <a:gd name="connsiteY40" fmla="*/ 7220 h 10000"/>
              <a:gd name="connsiteX41" fmla="*/ 9733 w 10012"/>
              <a:gd name="connsiteY41" fmla="*/ 7889 h 10000"/>
              <a:gd name="connsiteX42" fmla="*/ 9846 w 10012"/>
              <a:gd name="connsiteY42" fmla="*/ 7547 h 10000"/>
              <a:gd name="connsiteX43" fmla="*/ 9848 w 10012"/>
              <a:gd name="connsiteY43" fmla="*/ 7270 h 10000"/>
              <a:gd name="connsiteX44" fmla="*/ 9934 w 10012"/>
              <a:gd name="connsiteY44" fmla="*/ 7580 h 10000"/>
              <a:gd name="connsiteX45" fmla="*/ 10012 w 10012"/>
              <a:gd name="connsiteY4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805 w 10012"/>
              <a:gd name="connsiteY3" fmla="*/ 1925 h 10000"/>
              <a:gd name="connsiteX4" fmla="*/ 1461 w 10012"/>
              <a:gd name="connsiteY4" fmla="*/ 2238 h 10000"/>
              <a:gd name="connsiteX5" fmla="*/ 1832 w 10012"/>
              <a:gd name="connsiteY5" fmla="*/ 2105 h 10000"/>
              <a:gd name="connsiteX6" fmla="*/ 3124 w 10012"/>
              <a:gd name="connsiteY6" fmla="*/ 1791 h 10000"/>
              <a:gd name="connsiteX7" fmla="*/ 3227 w 10012"/>
              <a:gd name="connsiteY7" fmla="*/ 2820 h 10000"/>
              <a:gd name="connsiteX8" fmla="*/ 3590 w 10012"/>
              <a:gd name="connsiteY8" fmla="*/ 2500 h 10000"/>
              <a:gd name="connsiteX9" fmla="*/ 3685 w 10012"/>
              <a:gd name="connsiteY9" fmla="*/ 1432 h 10000"/>
              <a:gd name="connsiteX10" fmla="*/ 3754 w 10012"/>
              <a:gd name="connsiteY10" fmla="*/ 1148 h 10000"/>
              <a:gd name="connsiteX11" fmla="*/ 4365 w 10012"/>
              <a:gd name="connsiteY11" fmla="*/ 6693 h 10000"/>
              <a:gd name="connsiteX12" fmla="*/ 4577 w 10012"/>
              <a:gd name="connsiteY12" fmla="*/ 6680 h 10000"/>
              <a:gd name="connsiteX13" fmla="*/ 5263 w 10012"/>
              <a:gd name="connsiteY13" fmla="*/ 766 h 10000"/>
              <a:gd name="connsiteX14" fmla="*/ 5262 w 10012"/>
              <a:gd name="connsiteY14" fmla="*/ 745 h 10000"/>
              <a:gd name="connsiteX15" fmla="*/ 5778 w 10012"/>
              <a:gd name="connsiteY15" fmla="*/ 1286 h 10000"/>
              <a:gd name="connsiteX16" fmla="*/ 5946 w 10012"/>
              <a:gd name="connsiteY16" fmla="*/ 0 h 10000"/>
              <a:gd name="connsiteX17" fmla="*/ 6493 w 10012"/>
              <a:gd name="connsiteY17" fmla="*/ 111 h 10000"/>
              <a:gd name="connsiteX18" fmla="*/ 6806 w 10012"/>
              <a:gd name="connsiteY18" fmla="*/ 42 h 10000"/>
              <a:gd name="connsiteX19" fmla="*/ 7003 w 10012"/>
              <a:gd name="connsiteY19" fmla="*/ 361 h 10000"/>
              <a:gd name="connsiteX20" fmla="*/ 7476 w 10012"/>
              <a:gd name="connsiteY20" fmla="*/ 6005 h 10000"/>
              <a:gd name="connsiteX21" fmla="*/ 8179 w 10012"/>
              <a:gd name="connsiteY21" fmla="*/ 6020 h 10000"/>
              <a:gd name="connsiteX22" fmla="*/ 8378 w 10012"/>
              <a:gd name="connsiteY22" fmla="*/ 4920 h 10000"/>
              <a:gd name="connsiteX23" fmla="*/ 8509 w 10012"/>
              <a:gd name="connsiteY23" fmla="*/ 5527 h 10000"/>
              <a:gd name="connsiteX24" fmla="*/ 8594 w 10012"/>
              <a:gd name="connsiteY24" fmla="*/ 4983 h 10000"/>
              <a:gd name="connsiteX25" fmla="*/ 8659 w 10012"/>
              <a:gd name="connsiteY25" fmla="*/ 7656 h 10000"/>
              <a:gd name="connsiteX26" fmla="*/ 8726 w 10012"/>
              <a:gd name="connsiteY26" fmla="*/ 6573 h 10000"/>
              <a:gd name="connsiteX27" fmla="*/ 8822 w 10012"/>
              <a:gd name="connsiteY27" fmla="*/ 7792 h 10000"/>
              <a:gd name="connsiteX28" fmla="*/ 8875 w 10012"/>
              <a:gd name="connsiteY28" fmla="*/ 7573 h 10000"/>
              <a:gd name="connsiteX29" fmla="*/ 8901 w 10012"/>
              <a:gd name="connsiteY29" fmla="*/ 7948 h 10000"/>
              <a:gd name="connsiteX30" fmla="*/ 8998 w 10012"/>
              <a:gd name="connsiteY30" fmla="*/ 7961 h 10000"/>
              <a:gd name="connsiteX31" fmla="*/ 9004 w 10012"/>
              <a:gd name="connsiteY31" fmla="*/ 7688 h 10000"/>
              <a:gd name="connsiteX32" fmla="*/ 9117 w 10012"/>
              <a:gd name="connsiteY32" fmla="*/ 7907 h 10000"/>
              <a:gd name="connsiteX33" fmla="*/ 9180 w 10012"/>
              <a:gd name="connsiteY33" fmla="*/ 7811 h 10000"/>
              <a:gd name="connsiteX34" fmla="*/ 9205 w 10012"/>
              <a:gd name="connsiteY34" fmla="*/ 7352 h 10000"/>
              <a:gd name="connsiteX35" fmla="*/ 9240 w 10012"/>
              <a:gd name="connsiteY35" fmla="*/ 7794 h 10000"/>
              <a:gd name="connsiteX36" fmla="*/ 9319 w 10012"/>
              <a:gd name="connsiteY36" fmla="*/ 7565 h 10000"/>
              <a:gd name="connsiteX37" fmla="*/ 9433 w 10012"/>
              <a:gd name="connsiteY37" fmla="*/ 7687 h 10000"/>
              <a:gd name="connsiteX38" fmla="*/ 9493 w 10012"/>
              <a:gd name="connsiteY38" fmla="*/ 7948 h 10000"/>
              <a:gd name="connsiteX39" fmla="*/ 9527 w 10012"/>
              <a:gd name="connsiteY39" fmla="*/ 7710 h 10000"/>
              <a:gd name="connsiteX40" fmla="*/ 9586 w 10012"/>
              <a:gd name="connsiteY40" fmla="*/ 7913 h 10000"/>
              <a:gd name="connsiteX41" fmla="*/ 9627 w 10012"/>
              <a:gd name="connsiteY41" fmla="*/ 7220 h 10000"/>
              <a:gd name="connsiteX42" fmla="*/ 9733 w 10012"/>
              <a:gd name="connsiteY42" fmla="*/ 7889 h 10000"/>
              <a:gd name="connsiteX43" fmla="*/ 9846 w 10012"/>
              <a:gd name="connsiteY43" fmla="*/ 7547 h 10000"/>
              <a:gd name="connsiteX44" fmla="*/ 9848 w 10012"/>
              <a:gd name="connsiteY44" fmla="*/ 7270 h 10000"/>
              <a:gd name="connsiteX45" fmla="*/ 9934 w 10012"/>
              <a:gd name="connsiteY45" fmla="*/ 7580 h 10000"/>
              <a:gd name="connsiteX46" fmla="*/ 10012 w 10012"/>
              <a:gd name="connsiteY46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609 w 10012"/>
              <a:gd name="connsiteY2" fmla="*/ 1776 h 10000"/>
              <a:gd name="connsiteX3" fmla="*/ 805 w 10012"/>
              <a:gd name="connsiteY3" fmla="*/ 1925 h 10000"/>
              <a:gd name="connsiteX4" fmla="*/ 1461 w 10012"/>
              <a:gd name="connsiteY4" fmla="*/ 2238 h 10000"/>
              <a:gd name="connsiteX5" fmla="*/ 1832 w 10012"/>
              <a:gd name="connsiteY5" fmla="*/ 2105 h 10000"/>
              <a:gd name="connsiteX6" fmla="*/ 3124 w 10012"/>
              <a:gd name="connsiteY6" fmla="*/ 1791 h 10000"/>
              <a:gd name="connsiteX7" fmla="*/ 3227 w 10012"/>
              <a:gd name="connsiteY7" fmla="*/ 2820 h 10000"/>
              <a:gd name="connsiteX8" fmla="*/ 3590 w 10012"/>
              <a:gd name="connsiteY8" fmla="*/ 2500 h 10000"/>
              <a:gd name="connsiteX9" fmla="*/ 3685 w 10012"/>
              <a:gd name="connsiteY9" fmla="*/ 1432 h 10000"/>
              <a:gd name="connsiteX10" fmla="*/ 3754 w 10012"/>
              <a:gd name="connsiteY10" fmla="*/ 1148 h 10000"/>
              <a:gd name="connsiteX11" fmla="*/ 4365 w 10012"/>
              <a:gd name="connsiteY11" fmla="*/ 6693 h 10000"/>
              <a:gd name="connsiteX12" fmla="*/ 4577 w 10012"/>
              <a:gd name="connsiteY12" fmla="*/ 6680 h 10000"/>
              <a:gd name="connsiteX13" fmla="*/ 5263 w 10012"/>
              <a:gd name="connsiteY13" fmla="*/ 766 h 10000"/>
              <a:gd name="connsiteX14" fmla="*/ 5262 w 10012"/>
              <a:gd name="connsiteY14" fmla="*/ 745 h 10000"/>
              <a:gd name="connsiteX15" fmla="*/ 5778 w 10012"/>
              <a:gd name="connsiteY15" fmla="*/ 1286 h 10000"/>
              <a:gd name="connsiteX16" fmla="*/ 5946 w 10012"/>
              <a:gd name="connsiteY16" fmla="*/ 0 h 10000"/>
              <a:gd name="connsiteX17" fmla="*/ 6493 w 10012"/>
              <a:gd name="connsiteY17" fmla="*/ 111 h 10000"/>
              <a:gd name="connsiteX18" fmla="*/ 6806 w 10012"/>
              <a:gd name="connsiteY18" fmla="*/ 42 h 10000"/>
              <a:gd name="connsiteX19" fmla="*/ 7003 w 10012"/>
              <a:gd name="connsiteY19" fmla="*/ 361 h 10000"/>
              <a:gd name="connsiteX20" fmla="*/ 7476 w 10012"/>
              <a:gd name="connsiteY20" fmla="*/ 6005 h 10000"/>
              <a:gd name="connsiteX21" fmla="*/ 8179 w 10012"/>
              <a:gd name="connsiteY21" fmla="*/ 6020 h 10000"/>
              <a:gd name="connsiteX22" fmla="*/ 8378 w 10012"/>
              <a:gd name="connsiteY22" fmla="*/ 4920 h 10000"/>
              <a:gd name="connsiteX23" fmla="*/ 8509 w 10012"/>
              <a:gd name="connsiteY23" fmla="*/ 5527 h 10000"/>
              <a:gd name="connsiteX24" fmla="*/ 8594 w 10012"/>
              <a:gd name="connsiteY24" fmla="*/ 4983 h 10000"/>
              <a:gd name="connsiteX25" fmla="*/ 8659 w 10012"/>
              <a:gd name="connsiteY25" fmla="*/ 7656 h 10000"/>
              <a:gd name="connsiteX26" fmla="*/ 8726 w 10012"/>
              <a:gd name="connsiteY26" fmla="*/ 6573 h 10000"/>
              <a:gd name="connsiteX27" fmla="*/ 8822 w 10012"/>
              <a:gd name="connsiteY27" fmla="*/ 7792 h 10000"/>
              <a:gd name="connsiteX28" fmla="*/ 8875 w 10012"/>
              <a:gd name="connsiteY28" fmla="*/ 7573 h 10000"/>
              <a:gd name="connsiteX29" fmla="*/ 8901 w 10012"/>
              <a:gd name="connsiteY29" fmla="*/ 7948 h 10000"/>
              <a:gd name="connsiteX30" fmla="*/ 8998 w 10012"/>
              <a:gd name="connsiteY30" fmla="*/ 7961 h 10000"/>
              <a:gd name="connsiteX31" fmla="*/ 9004 w 10012"/>
              <a:gd name="connsiteY31" fmla="*/ 7688 h 10000"/>
              <a:gd name="connsiteX32" fmla="*/ 9117 w 10012"/>
              <a:gd name="connsiteY32" fmla="*/ 7907 h 10000"/>
              <a:gd name="connsiteX33" fmla="*/ 9180 w 10012"/>
              <a:gd name="connsiteY33" fmla="*/ 7811 h 10000"/>
              <a:gd name="connsiteX34" fmla="*/ 9205 w 10012"/>
              <a:gd name="connsiteY34" fmla="*/ 7352 h 10000"/>
              <a:gd name="connsiteX35" fmla="*/ 9240 w 10012"/>
              <a:gd name="connsiteY35" fmla="*/ 7794 h 10000"/>
              <a:gd name="connsiteX36" fmla="*/ 9319 w 10012"/>
              <a:gd name="connsiteY36" fmla="*/ 7565 h 10000"/>
              <a:gd name="connsiteX37" fmla="*/ 9433 w 10012"/>
              <a:gd name="connsiteY37" fmla="*/ 7687 h 10000"/>
              <a:gd name="connsiteX38" fmla="*/ 9493 w 10012"/>
              <a:gd name="connsiteY38" fmla="*/ 7948 h 10000"/>
              <a:gd name="connsiteX39" fmla="*/ 9527 w 10012"/>
              <a:gd name="connsiteY39" fmla="*/ 7710 h 10000"/>
              <a:gd name="connsiteX40" fmla="*/ 9586 w 10012"/>
              <a:gd name="connsiteY40" fmla="*/ 7913 h 10000"/>
              <a:gd name="connsiteX41" fmla="*/ 9627 w 10012"/>
              <a:gd name="connsiteY41" fmla="*/ 7220 h 10000"/>
              <a:gd name="connsiteX42" fmla="*/ 9733 w 10012"/>
              <a:gd name="connsiteY42" fmla="*/ 7889 h 10000"/>
              <a:gd name="connsiteX43" fmla="*/ 9846 w 10012"/>
              <a:gd name="connsiteY43" fmla="*/ 7547 h 10000"/>
              <a:gd name="connsiteX44" fmla="*/ 9848 w 10012"/>
              <a:gd name="connsiteY44" fmla="*/ 7270 h 10000"/>
              <a:gd name="connsiteX45" fmla="*/ 9934 w 10012"/>
              <a:gd name="connsiteY45" fmla="*/ 7580 h 10000"/>
              <a:gd name="connsiteX46" fmla="*/ 10012 w 10012"/>
              <a:gd name="connsiteY46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05 w 10012"/>
              <a:gd name="connsiteY2" fmla="*/ 1925 h 10000"/>
              <a:gd name="connsiteX3" fmla="*/ 1461 w 10012"/>
              <a:gd name="connsiteY3" fmla="*/ 2238 h 10000"/>
              <a:gd name="connsiteX4" fmla="*/ 1832 w 10012"/>
              <a:gd name="connsiteY4" fmla="*/ 2105 h 10000"/>
              <a:gd name="connsiteX5" fmla="*/ 3124 w 10012"/>
              <a:gd name="connsiteY5" fmla="*/ 1791 h 10000"/>
              <a:gd name="connsiteX6" fmla="*/ 3227 w 10012"/>
              <a:gd name="connsiteY6" fmla="*/ 2820 h 10000"/>
              <a:gd name="connsiteX7" fmla="*/ 3590 w 10012"/>
              <a:gd name="connsiteY7" fmla="*/ 2500 h 10000"/>
              <a:gd name="connsiteX8" fmla="*/ 3685 w 10012"/>
              <a:gd name="connsiteY8" fmla="*/ 1432 h 10000"/>
              <a:gd name="connsiteX9" fmla="*/ 3754 w 10012"/>
              <a:gd name="connsiteY9" fmla="*/ 1148 h 10000"/>
              <a:gd name="connsiteX10" fmla="*/ 4365 w 10012"/>
              <a:gd name="connsiteY10" fmla="*/ 6693 h 10000"/>
              <a:gd name="connsiteX11" fmla="*/ 4577 w 10012"/>
              <a:gd name="connsiteY11" fmla="*/ 6680 h 10000"/>
              <a:gd name="connsiteX12" fmla="*/ 5263 w 10012"/>
              <a:gd name="connsiteY12" fmla="*/ 766 h 10000"/>
              <a:gd name="connsiteX13" fmla="*/ 5262 w 10012"/>
              <a:gd name="connsiteY13" fmla="*/ 745 h 10000"/>
              <a:gd name="connsiteX14" fmla="*/ 5778 w 10012"/>
              <a:gd name="connsiteY14" fmla="*/ 1286 h 10000"/>
              <a:gd name="connsiteX15" fmla="*/ 5946 w 10012"/>
              <a:gd name="connsiteY15" fmla="*/ 0 h 10000"/>
              <a:gd name="connsiteX16" fmla="*/ 6493 w 10012"/>
              <a:gd name="connsiteY16" fmla="*/ 111 h 10000"/>
              <a:gd name="connsiteX17" fmla="*/ 6806 w 10012"/>
              <a:gd name="connsiteY17" fmla="*/ 42 h 10000"/>
              <a:gd name="connsiteX18" fmla="*/ 7003 w 10012"/>
              <a:gd name="connsiteY18" fmla="*/ 361 h 10000"/>
              <a:gd name="connsiteX19" fmla="*/ 7476 w 10012"/>
              <a:gd name="connsiteY19" fmla="*/ 6005 h 10000"/>
              <a:gd name="connsiteX20" fmla="*/ 8179 w 10012"/>
              <a:gd name="connsiteY20" fmla="*/ 6020 h 10000"/>
              <a:gd name="connsiteX21" fmla="*/ 8378 w 10012"/>
              <a:gd name="connsiteY21" fmla="*/ 4920 h 10000"/>
              <a:gd name="connsiteX22" fmla="*/ 8509 w 10012"/>
              <a:gd name="connsiteY22" fmla="*/ 5527 h 10000"/>
              <a:gd name="connsiteX23" fmla="*/ 8594 w 10012"/>
              <a:gd name="connsiteY23" fmla="*/ 4983 h 10000"/>
              <a:gd name="connsiteX24" fmla="*/ 8659 w 10012"/>
              <a:gd name="connsiteY24" fmla="*/ 7656 h 10000"/>
              <a:gd name="connsiteX25" fmla="*/ 8726 w 10012"/>
              <a:gd name="connsiteY25" fmla="*/ 6573 h 10000"/>
              <a:gd name="connsiteX26" fmla="*/ 8822 w 10012"/>
              <a:gd name="connsiteY26" fmla="*/ 7792 h 10000"/>
              <a:gd name="connsiteX27" fmla="*/ 8875 w 10012"/>
              <a:gd name="connsiteY27" fmla="*/ 7573 h 10000"/>
              <a:gd name="connsiteX28" fmla="*/ 8901 w 10012"/>
              <a:gd name="connsiteY28" fmla="*/ 7948 h 10000"/>
              <a:gd name="connsiteX29" fmla="*/ 8998 w 10012"/>
              <a:gd name="connsiteY29" fmla="*/ 7961 h 10000"/>
              <a:gd name="connsiteX30" fmla="*/ 9004 w 10012"/>
              <a:gd name="connsiteY30" fmla="*/ 7688 h 10000"/>
              <a:gd name="connsiteX31" fmla="*/ 9117 w 10012"/>
              <a:gd name="connsiteY31" fmla="*/ 7907 h 10000"/>
              <a:gd name="connsiteX32" fmla="*/ 9180 w 10012"/>
              <a:gd name="connsiteY32" fmla="*/ 7811 h 10000"/>
              <a:gd name="connsiteX33" fmla="*/ 9205 w 10012"/>
              <a:gd name="connsiteY33" fmla="*/ 7352 h 10000"/>
              <a:gd name="connsiteX34" fmla="*/ 9240 w 10012"/>
              <a:gd name="connsiteY34" fmla="*/ 7794 h 10000"/>
              <a:gd name="connsiteX35" fmla="*/ 9319 w 10012"/>
              <a:gd name="connsiteY35" fmla="*/ 7565 h 10000"/>
              <a:gd name="connsiteX36" fmla="*/ 9433 w 10012"/>
              <a:gd name="connsiteY36" fmla="*/ 7687 h 10000"/>
              <a:gd name="connsiteX37" fmla="*/ 9493 w 10012"/>
              <a:gd name="connsiteY37" fmla="*/ 7948 h 10000"/>
              <a:gd name="connsiteX38" fmla="*/ 9527 w 10012"/>
              <a:gd name="connsiteY38" fmla="*/ 7710 h 10000"/>
              <a:gd name="connsiteX39" fmla="*/ 9586 w 10012"/>
              <a:gd name="connsiteY39" fmla="*/ 7913 h 10000"/>
              <a:gd name="connsiteX40" fmla="*/ 9627 w 10012"/>
              <a:gd name="connsiteY40" fmla="*/ 7220 h 10000"/>
              <a:gd name="connsiteX41" fmla="*/ 9733 w 10012"/>
              <a:gd name="connsiteY41" fmla="*/ 7889 h 10000"/>
              <a:gd name="connsiteX42" fmla="*/ 9846 w 10012"/>
              <a:gd name="connsiteY42" fmla="*/ 7547 h 10000"/>
              <a:gd name="connsiteX43" fmla="*/ 9848 w 10012"/>
              <a:gd name="connsiteY43" fmla="*/ 7270 h 10000"/>
              <a:gd name="connsiteX44" fmla="*/ 9934 w 10012"/>
              <a:gd name="connsiteY44" fmla="*/ 7580 h 10000"/>
              <a:gd name="connsiteX45" fmla="*/ 10012 w 10012"/>
              <a:gd name="connsiteY4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1107 w 10012"/>
              <a:gd name="connsiteY2" fmla="*/ 793 h 10000"/>
              <a:gd name="connsiteX3" fmla="*/ 1461 w 10012"/>
              <a:gd name="connsiteY3" fmla="*/ 2238 h 10000"/>
              <a:gd name="connsiteX4" fmla="*/ 1832 w 10012"/>
              <a:gd name="connsiteY4" fmla="*/ 2105 h 10000"/>
              <a:gd name="connsiteX5" fmla="*/ 3124 w 10012"/>
              <a:gd name="connsiteY5" fmla="*/ 1791 h 10000"/>
              <a:gd name="connsiteX6" fmla="*/ 3227 w 10012"/>
              <a:gd name="connsiteY6" fmla="*/ 2820 h 10000"/>
              <a:gd name="connsiteX7" fmla="*/ 3590 w 10012"/>
              <a:gd name="connsiteY7" fmla="*/ 2500 h 10000"/>
              <a:gd name="connsiteX8" fmla="*/ 3685 w 10012"/>
              <a:gd name="connsiteY8" fmla="*/ 1432 h 10000"/>
              <a:gd name="connsiteX9" fmla="*/ 3754 w 10012"/>
              <a:gd name="connsiteY9" fmla="*/ 1148 h 10000"/>
              <a:gd name="connsiteX10" fmla="*/ 4365 w 10012"/>
              <a:gd name="connsiteY10" fmla="*/ 6693 h 10000"/>
              <a:gd name="connsiteX11" fmla="*/ 4577 w 10012"/>
              <a:gd name="connsiteY11" fmla="*/ 6680 h 10000"/>
              <a:gd name="connsiteX12" fmla="*/ 5263 w 10012"/>
              <a:gd name="connsiteY12" fmla="*/ 766 h 10000"/>
              <a:gd name="connsiteX13" fmla="*/ 5262 w 10012"/>
              <a:gd name="connsiteY13" fmla="*/ 745 h 10000"/>
              <a:gd name="connsiteX14" fmla="*/ 5778 w 10012"/>
              <a:gd name="connsiteY14" fmla="*/ 1286 h 10000"/>
              <a:gd name="connsiteX15" fmla="*/ 5946 w 10012"/>
              <a:gd name="connsiteY15" fmla="*/ 0 h 10000"/>
              <a:gd name="connsiteX16" fmla="*/ 6493 w 10012"/>
              <a:gd name="connsiteY16" fmla="*/ 111 h 10000"/>
              <a:gd name="connsiteX17" fmla="*/ 6806 w 10012"/>
              <a:gd name="connsiteY17" fmla="*/ 42 h 10000"/>
              <a:gd name="connsiteX18" fmla="*/ 7003 w 10012"/>
              <a:gd name="connsiteY18" fmla="*/ 361 h 10000"/>
              <a:gd name="connsiteX19" fmla="*/ 7476 w 10012"/>
              <a:gd name="connsiteY19" fmla="*/ 6005 h 10000"/>
              <a:gd name="connsiteX20" fmla="*/ 8179 w 10012"/>
              <a:gd name="connsiteY20" fmla="*/ 6020 h 10000"/>
              <a:gd name="connsiteX21" fmla="*/ 8378 w 10012"/>
              <a:gd name="connsiteY21" fmla="*/ 4920 h 10000"/>
              <a:gd name="connsiteX22" fmla="*/ 8509 w 10012"/>
              <a:gd name="connsiteY22" fmla="*/ 5527 h 10000"/>
              <a:gd name="connsiteX23" fmla="*/ 8594 w 10012"/>
              <a:gd name="connsiteY23" fmla="*/ 4983 h 10000"/>
              <a:gd name="connsiteX24" fmla="*/ 8659 w 10012"/>
              <a:gd name="connsiteY24" fmla="*/ 7656 h 10000"/>
              <a:gd name="connsiteX25" fmla="*/ 8726 w 10012"/>
              <a:gd name="connsiteY25" fmla="*/ 6573 h 10000"/>
              <a:gd name="connsiteX26" fmla="*/ 8822 w 10012"/>
              <a:gd name="connsiteY26" fmla="*/ 7792 h 10000"/>
              <a:gd name="connsiteX27" fmla="*/ 8875 w 10012"/>
              <a:gd name="connsiteY27" fmla="*/ 7573 h 10000"/>
              <a:gd name="connsiteX28" fmla="*/ 8901 w 10012"/>
              <a:gd name="connsiteY28" fmla="*/ 7948 h 10000"/>
              <a:gd name="connsiteX29" fmla="*/ 8998 w 10012"/>
              <a:gd name="connsiteY29" fmla="*/ 7961 h 10000"/>
              <a:gd name="connsiteX30" fmla="*/ 9004 w 10012"/>
              <a:gd name="connsiteY30" fmla="*/ 7688 h 10000"/>
              <a:gd name="connsiteX31" fmla="*/ 9117 w 10012"/>
              <a:gd name="connsiteY31" fmla="*/ 7907 h 10000"/>
              <a:gd name="connsiteX32" fmla="*/ 9180 w 10012"/>
              <a:gd name="connsiteY32" fmla="*/ 7811 h 10000"/>
              <a:gd name="connsiteX33" fmla="*/ 9205 w 10012"/>
              <a:gd name="connsiteY33" fmla="*/ 7352 h 10000"/>
              <a:gd name="connsiteX34" fmla="*/ 9240 w 10012"/>
              <a:gd name="connsiteY34" fmla="*/ 7794 h 10000"/>
              <a:gd name="connsiteX35" fmla="*/ 9319 w 10012"/>
              <a:gd name="connsiteY35" fmla="*/ 7565 h 10000"/>
              <a:gd name="connsiteX36" fmla="*/ 9433 w 10012"/>
              <a:gd name="connsiteY36" fmla="*/ 7687 h 10000"/>
              <a:gd name="connsiteX37" fmla="*/ 9493 w 10012"/>
              <a:gd name="connsiteY37" fmla="*/ 7948 h 10000"/>
              <a:gd name="connsiteX38" fmla="*/ 9527 w 10012"/>
              <a:gd name="connsiteY38" fmla="*/ 7710 h 10000"/>
              <a:gd name="connsiteX39" fmla="*/ 9586 w 10012"/>
              <a:gd name="connsiteY39" fmla="*/ 7913 h 10000"/>
              <a:gd name="connsiteX40" fmla="*/ 9627 w 10012"/>
              <a:gd name="connsiteY40" fmla="*/ 7220 h 10000"/>
              <a:gd name="connsiteX41" fmla="*/ 9733 w 10012"/>
              <a:gd name="connsiteY41" fmla="*/ 7889 h 10000"/>
              <a:gd name="connsiteX42" fmla="*/ 9846 w 10012"/>
              <a:gd name="connsiteY42" fmla="*/ 7547 h 10000"/>
              <a:gd name="connsiteX43" fmla="*/ 9848 w 10012"/>
              <a:gd name="connsiteY43" fmla="*/ 7270 h 10000"/>
              <a:gd name="connsiteX44" fmla="*/ 9934 w 10012"/>
              <a:gd name="connsiteY44" fmla="*/ 7580 h 10000"/>
              <a:gd name="connsiteX45" fmla="*/ 10012 w 10012"/>
              <a:gd name="connsiteY4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84 w 10012"/>
              <a:gd name="connsiteY2" fmla="*/ 1925 h 10000"/>
              <a:gd name="connsiteX3" fmla="*/ 1461 w 10012"/>
              <a:gd name="connsiteY3" fmla="*/ 2238 h 10000"/>
              <a:gd name="connsiteX4" fmla="*/ 1832 w 10012"/>
              <a:gd name="connsiteY4" fmla="*/ 2105 h 10000"/>
              <a:gd name="connsiteX5" fmla="*/ 3124 w 10012"/>
              <a:gd name="connsiteY5" fmla="*/ 1791 h 10000"/>
              <a:gd name="connsiteX6" fmla="*/ 3227 w 10012"/>
              <a:gd name="connsiteY6" fmla="*/ 2820 h 10000"/>
              <a:gd name="connsiteX7" fmla="*/ 3590 w 10012"/>
              <a:gd name="connsiteY7" fmla="*/ 2500 h 10000"/>
              <a:gd name="connsiteX8" fmla="*/ 3685 w 10012"/>
              <a:gd name="connsiteY8" fmla="*/ 1432 h 10000"/>
              <a:gd name="connsiteX9" fmla="*/ 3754 w 10012"/>
              <a:gd name="connsiteY9" fmla="*/ 1148 h 10000"/>
              <a:gd name="connsiteX10" fmla="*/ 4365 w 10012"/>
              <a:gd name="connsiteY10" fmla="*/ 6693 h 10000"/>
              <a:gd name="connsiteX11" fmla="*/ 4577 w 10012"/>
              <a:gd name="connsiteY11" fmla="*/ 6680 h 10000"/>
              <a:gd name="connsiteX12" fmla="*/ 5263 w 10012"/>
              <a:gd name="connsiteY12" fmla="*/ 766 h 10000"/>
              <a:gd name="connsiteX13" fmla="*/ 5262 w 10012"/>
              <a:gd name="connsiteY13" fmla="*/ 745 h 10000"/>
              <a:gd name="connsiteX14" fmla="*/ 5778 w 10012"/>
              <a:gd name="connsiteY14" fmla="*/ 1286 h 10000"/>
              <a:gd name="connsiteX15" fmla="*/ 5946 w 10012"/>
              <a:gd name="connsiteY15" fmla="*/ 0 h 10000"/>
              <a:gd name="connsiteX16" fmla="*/ 6493 w 10012"/>
              <a:gd name="connsiteY16" fmla="*/ 111 h 10000"/>
              <a:gd name="connsiteX17" fmla="*/ 6806 w 10012"/>
              <a:gd name="connsiteY17" fmla="*/ 42 h 10000"/>
              <a:gd name="connsiteX18" fmla="*/ 7003 w 10012"/>
              <a:gd name="connsiteY18" fmla="*/ 361 h 10000"/>
              <a:gd name="connsiteX19" fmla="*/ 7476 w 10012"/>
              <a:gd name="connsiteY19" fmla="*/ 6005 h 10000"/>
              <a:gd name="connsiteX20" fmla="*/ 8179 w 10012"/>
              <a:gd name="connsiteY20" fmla="*/ 6020 h 10000"/>
              <a:gd name="connsiteX21" fmla="*/ 8378 w 10012"/>
              <a:gd name="connsiteY21" fmla="*/ 4920 h 10000"/>
              <a:gd name="connsiteX22" fmla="*/ 8509 w 10012"/>
              <a:gd name="connsiteY22" fmla="*/ 5527 h 10000"/>
              <a:gd name="connsiteX23" fmla="*/ 8594 w 10012"/>
              <a:gd name="connsiteY23" fmla="*/ 4983 h 10000"/>
              <a:gd name="connsiteX24" fmla="*/ 8659 w 10012"/>
              <a:gd name="connsiteY24" fmla="*/ 7656 h 10000"/>
              <a:gd name="connsiteX25" fmla="*/ 8726 w 10012"/>
              <a:gd name="connsiteY25" fmla="*/ 6573 h 10000"/>
              <a:gd name="connsiteX26" fmla="*/ 8822 w 10012"/>
              <a:gd name="connsiteY26" fmla="*/ 7792 h 10000"/>
              <a:gd name="connsiteX27" fmla="*/ 8875 w 10012"/>
              <a:gd name="connsiteY27" fmla="*/ 7573 h 10000"/>
              <a:gd name="connsiteX28" fmla="*/ 8901 w 10012"/>
              <a:gd name="connsiteY28" fmla="*/ 7948 h 10000"/>
              <a:gd name="connsiteX29" fmla="*/ 8998 w 10012"/>
              <a:gd name="connsiteY29" fmla="*/ 7961 h 10000"/>
              <a:gd name="connsiteX30" fmla="*/ 9004 w 10012"/>
              <a:gd name="connsiteY30" fmla="*/ 7688 h 10000"/>
              <a:gd name="connsiteX31" fmla="*/ 9117 w 10012"/>
              <a:gd name="connsiteY31" fmla="*/ 7907 h 10000"/>
              <a:gd name="connsiteX32" fmla="*/ 9180 w 10012"/>
              <a:gd name="connsiteY32" fmla="*/ 7811 h 10000"/>
              <a:gd name="connsiteX33" fmla="*/ 9205 w 10012"/>
              <a:gd name="connsiteY33" fmla="*/ 7352 h 10000"/>
              <a:gd name="connsiteX34" fmla="*/ 9240 w 10012"/>
              <a:gd name="connsiteY34" fmla="*/ 7794 h 10000"/>
              <a:gd name="connsiteX35" fmla="*/ 9319 w 10012"/>
              <a:gd name="connsiteY35" fmla="*/ 7565 h 10000"/>
              <a:gd name="connsiteX36" fmla="*/ 9433 w 10012"/>
              <a:gd name="connsiteY36" fmla="*/ 7687 h 10000"/>
              <a:gd name="connsiteX37" fmla="*/ 9493 w 10012"/>
              <a:gd name="connsiteY37" fmla="*/ 7948 h 10000"/>
              <a:gd name="connsiteX38" fmla="*/ 9527 w 10012"/>
              <a:gd name="connsiteY38" fmla="*/ 7710 h 10000"/>
              <a:gd name="connsiteX39" fmla="*/ 9586 w 10012"/>
              <a:gd name="connsiteY39" fmla="*/ 7913 h 10000"/>
              <a:gd name="connsiteX40" fmla="*/ 9627 w 10012"/>
              <a:gd name="connsiteY40" fmla="*/ 7220 h 10000"/>
              <a:gd name="connsiteX41" fmla="*/ 9733 w 10012"/>
              <a:gd name="connsiteY41" fmla="*/ 7889 h 10000"/>
              <a:gd name="connsiteX42" fmla="*/ 9846 w 10012"/>
              <a:gd name="connsiteY42" fmla="*/ 7547 h 10000"/>
              <a:gd name="connsiteX43" fmla="*/ 9848 w 10012"/>
              <a:gd name="connsiteY43" fmla="*/ 7270 h 10000"/>
              <a:gd name="connsiteX44" fmla="*/ 9934 w 10012"/>
              <a:gd name="connsiteY44" fmla="*/ 7580 h 10000"/>
              <a:gd name="connsiteX45" fmla="*/ 10012 w 10012"/>
              <a:gd name="connsiteY4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12 w 10012"/>
              <a:gd name="connsiteY2" fmla="*/ 1874 h 10000"/>
              <a:gd name="connsiteX3" fmla="*/ 1461 w 10012"/>
              <a:gd name="connsiteY3" fmla="*/ 2238 h 10000"/>
              <a:gd name="connsiteX4" fmla="*/ 1832 w 10012"/>
              <a:gd name="connsiteY4" fmla="*/ 2105 h 10000"/>
              <a:gd name="connsiteX5" fmla="*/ 3124 w 10012"/>
              <a:gd name="connsiteY5" fmla="*/ 1791 h 10000"/>
              <a:gd name="connsiteX6" fmla="*/ 3227 w 10012"/>
              <a:gd name="connsiteY6" fmla="*/ 2820 h 10000"/>
              <a:gd name="connsiteX7" fmla="*/ 3590 w 10012"/>
              <a:gd name="connsiteY7" fmla="*/ 2500 h 10000"/>
              <a:gd name="connsiteX8" fmla="*/ 3685 w 10012"/>
              <a:gd name="connsiteY8" fmla="*/ 1432 h 10000"/>
              <a:gd name="connsiteX9" fmla="*/ 3754 w 10012"/>
              <a:gd name="connsiteY9" fmla="*/ 1148 h 10000"/>
              <a:gd name="connsiteX10" fmla="*/ 4365 w 10012"/>
              <a:gd name="connsiteY10" fmla="*/ 6693 h 10000"/>
              <a:gd name="connsiteX11" fmla="*/ 4577 w 10012"/>
              <a:gd name="connsiteY11" fmla="*/ 6680 h 10000"/>
              <a:gd name="connsiteX12" fmla="*/ 5263 w 10012"/>
              <a:gd name="connsiteY12" fmla="*/ 766 h 10000"/>
              <a:gd name="connsiteX13" fmla="*/ 5262 w 10012"/>
              <a:gd name="connsiteY13" fmla="*/ 745 h 10000"/>
              <a:gd name="connsiteX14" fmla="*/ 5778 w 10012"/>
              <a:gd name="connsiteY14" fmla="*/ 1286 h 10000"/>
              <a:gd name="connsiteX15" fmla="*/ 5946 w 10012"/>
              <a:gd name="connsiteY15" fmla="*/ 0 h 10000"/>
              <a:gd name="connsiteX16" fmla="*/ 6493 w 10012"/>
              <a:gd name="connsiteY16" fmla="*/ 111 h 10000"/>
              <a:gd name="connsiteX17" fmla="*/ 6806 w 10012"/>
              <a:gd name="connsiteY17" fmla="*/ 42 h 10000"/>
              <a:gd name="connsiteX18" fmla="*/ 7003 w 10012"/>
              <a:gd name="connsiteY18" fmla="*/ 361 h 10000"/>
              <a:gd name="connsiteX19" fmla="*/ 7476 w 10012"/>
              <a:gd name="connsiteY19" fmla="*/ 6005 h 10000"/>
              <a:gd name="connsiteX20" fmla="*/ 8179 w 10012"/>
              <a:gd name="connsiteY20" fmla="*/ 6020 h 10000"/>
              <a:gd name="connsiteX21" fmla="*/ 8378 w 10012"/>
              <a:gd name="connsiteY21" fmla="*/ 4920 h 10000"/>
              <a:gd name="connsiteX22" fmla="*/ 8509 w 10012"/>
              <a:gd name="connsiteY22" fmla="*/ 5527 h 10000"/>
              <a:gd name="connsiteX23" fmla="*/ 8594 w 10012"/>
              <a:gd name="connsiteY23" fmla="*/ 4983 h 10000"/>
              <a:gd name="connsiteX24" fmla="*/ 8659 w 10012"/>
              <a:gd name="connsiteY24" fmla="*/ 7656 h 10000"/>
              <a:gd name="connsiteX25" fmla="*/ 8726 w 10012"/>
              <a:gd name="connsiteY25" fmla="*/ 6573 h 10000"/>
              <a:gd name="connsiteX26" fmla="*/ 8822 w 10012"/>
              <a:gd name="connsiteY26" fmla="*/ 7792 h 10000"/>
              <a:gd name="connsiteX27" fmla="*/ 8875 w 10012"/>
              <a:gd name="connsiteY27" fmla="*/ 7573 h 10000"/>
              <a:gd name="connsiteX28" fmla="*/ 8901 w 10012"/>
              <a:gd name="connsiteY28" fmla="*/ 7948 h 10000"/>
              <a:gd name="connsiteX29" fmla="*/ 8998 w 10012"/>
              <a:gd name="connsiteY29" fmla="*/ 7961 h 10000"/>
              <a:gd name="connsiteX30" fmla="*/ 9004 w 10012"/>
              <a:gd name="connsiteY30" fmla="*/ 7688 h 10000"/>
              <a:gd name="connsiteX31" fmla="*/ 9117 w 10012"/>
              <a:gd name="connsiteY31" fmla="*/ 7907 h 10000"/>
              <a:gd name="connsiteX32" fmla="*/ 9180 w 10012"/>
              <a:gd name="connsiteY32" fmla="*/ 7811 h 10000"/>
              <a:gd name="connsiteX33" fmla="*/ 9205 w 10012"/>
              <a:gd name="connsiteY33" fmla="*/ 7352 h 10000"/>
              <a:gd name="connsiteX34" fmla="*/ 9240 w 10012"/>
              <a:gd name="connsiteY34" fmla="*/ 7794 h 10000"/>
              <a:gd name="connsiteX35" fmla="*/ 9319 w 10012"/>
              <a:gd name="connsiteY35" fmla="*/ 7565 h 10000"/>
              <a:gd name="connsiteX36" fmla="*/ 9433 w 10012"/>
              <a:gd name="connsiteY36" fmla="*/ 7687 h 10000"/>
              <a:gd name="connsiteX37" fmla="*/ 9493 w 10012"/>
              <a:gd name="connsiteY37" fmla="*/ 7948 h 10000"/>
              <a:gd name="connsiteX38" fmla="*/ 9527 w 10012"/>
              <a:gd name="connsiteY38" fmla="*/ 7710 h 10000"/>
              <a:gd name="connsiteX39" fmla="*/ 9586 w 10012"/>
              <a:gd name="connsiteY39" fmla="*/ 7913 h 10000"/>
              <a:gd name="connsiteX40" fmla="*/ 9627 w 10012"/>
              <a:gd name="connsiteY40" fmla="*/ 7220 h 10000"/>
              <a:gd name="connsiteX41" fmla="*/ 9733 w 10012"/>
              <a:gd name="connsiteY41" fmla="*/ 7889 h 10000"/>
              <a:gd name="connsiteX42" fmla="*/ 9846 w 10012"/>
              <a:gd name="connsiteY42" fmla="*/ 7547 h 10000"/>
              <a:gd name="connsiteX43" fmla="*/ 9848 w 10012"/>
              <a:gd name="connsiteY43" fmla="*/ 7270 h 10000"/>
              <a:gd name="connsiteX44" fmla="*/ 9934 w 10012"/>
              <a:gd name="connsiteY44" fmla="*/ 7580 h 10000"/>
              <a:gd name="connsiteX45" fmla="*/ 10012 w 10012"/>
              <a:gd name="connsiteY45" fmla="*/ 7423 h 10000"/>
              <a:gd name="connsiteX0" fmla="*/ 0 w 10012"/>
              <a:gd name="connsiteY0" fmla="*/ 10000 h 10000"/>
              <a:gd name="connsiteX1" fmla="*/ 812 w 10012"/>
              <a:gd name="connsiteY1" fmla="*/ 1874 h 10000"/>
              <a:gd name="connsiteX2" fmla="*/ 1461 w 10012"/>
              <a:gd name="connsiteY2" fmla="*/ 2238 h 10000"/>
              <a:gd name="connsiteX3" fmla="*/ 1832 w 10012"/>
              <a:gd name="connsiteY3" fmla="*/ 2105 h 10000"/>
              <a:gd name="connsiteX4" fmla="*/ 3124 w 10012"/>
              <a:gd name="connsiteY4" fmla="*/ 1791 h 10000"/>
              <a:gd name="connsiteX5" fmla="*/ 3227 w 10012"/>
              <a:gd name="connsiteY5" fmla="*/ 2820 h 10000"/>
              <a:gd name="connsiteX6" fmla="*/ 3590 w 10012"/>
              <a:gd name="connsiteY6" fmla="*/ 2500 h 10000"/>
              <a:gd name="connsiteX7" fmla="*/ 3685 w 10012"/>
              <a:gd name="connsiteY7" fmla="*/ 1432 h 10000"/>
              <a:gd name="connsiteX8" fmla="*/ 3754 w 10012"/>
              <a:gd name="connsiteY8" fmla="*/ 1148 h 10000"/>
              <a:gd name="connsiteX9" fmla="*/ 4365 w 10012"/>
              <a:gd name="connsiteY9" fmla="*/ 6693 h 10000"/>
              <a:gd name="connsiteX10" fmla="*/ 4577 w 10012"/>
              <a:gd name="connsiteY10" fmla="*/ 6680 h 10000"/>
              <a:gd name="connsiteX11" fmla="*/ 5263 w 10012"/>
              <a:gd name="connsiteY11" fmla="*/ 766 h 10000"/>
              <a:gd name="connsiteX12" fmla="*/ 5262 w 10012"/>
              <a:gd name="connsiteY12" fmla="*/ 745 h 10000"/>
              <a:gd name="connsiteX13" fmla="*/ 5778 w 10012"/>
              <a:gd name="connsiteY13" fmla="*/ 1286 h 10000"/>
              <a:gd name="connsiteX14" fmla="*/ 5946 w 10012"/>
              <a:gd name="connsiteY14" fmla="*/ 0 h 10000"/>
              <a:gd name="connsiteX15" fmla="*/ 6493 w 10012"/>
              <a:gd name="connsiteY15" fmla="*/ 111 h 10000"/>
              <a:gd name="connsiteX16" fmla="*/ 6806 w 10012"/>
              <a:gd name="connsiteY16" fmla="*/ 42 h 10000"/>
              <a:gd name="connsiteX17" fmla="*/ 7003 w 10012"/>
              <a:gd name="connsiteY17" fmla="*/ 361 h 10000"/>
              <a:gd name="connsiteX18" fmla="*/ 7476 w 10012"/>
              <a:gd name="connsiteY18" fmla="*/ 6005 h 10000"/>
              <a:gd name="connsiteX19" fmla="*/ 8179 w 10012"/>
              <a:gd name="connsiteY19" fmla="*/ 6020 h 10000"/>
              <a:gd name="connsiteX20" fmla="*/ 8378 w 10012"/>
              <a:gd name="connsiteY20" fmla="*/ 4920 h 10000"/>
              <a:gd name="connsiteX21" fmla="*/ 8509 w 10012"/>
              <a:gd name="connsiteY21" fmla="*/ 5527 h 10000"/>
              <a:gd name="connsiteX22" fmla="*/ 8594 w 10012"/>
              <a:gd name="connsiteY22" fmla="*/ 4983 h 10000"/>
              <a:gd name="connsiteX23" fmla="*/ 8659 w 10012"/>
              <a:gd name="connsiteY23" fmla="*/ 7656 h 10000"/>
              <a:gd name="connsiteX24" fmla="*/ 8726 w 10012"/>
              <a:gd name="connsiteY24" fmla="*/ 6573 h 10000"/>
              <a:gd name="connsiteX25" fmla="*/ 8822 w 10012"/>
              <a:gd name="connsiteY25" fmla="*/ 7792 h 10000"/>
              <a:gd name="connsiteX26" fmla="*/ 8875 w 10012"/>
              <a:gd name="connsiteY26" fmla="*/ 7573 h 10000"/>
              <a:gd name="connsiteX27" fmla="*/ 8901 w 10012"/>
              <a:gd name="connsiteY27" fmla="*/ 7948 h 10000"/>
              <a:gd name="connsiteX28" fmla="*/ 8998 w 10012"/>
              <a:gd name="connsiteY28" fmla="*/ 7961 h 10000"/>
              <a:gd name="connsiteX29" fmla="*/ 9004 w 10012"/>
              <a:gd name="connsiteY29" fmla="*/ 7688 h 10000"/>
              <a:gd name="connsiteX30" fmla="*/ 9117 w 10012"/>
              <a:gd name="connsiteY30" fmla="*/ 7907 h 10000"/>
              <a:gd name="connsiteX31" fmla="*/ 9180 w 10012"/>
              <a:gd name="connsiteY31" fmla="*/ 7811 h 10000"/>
              <a:gd name="connsiteX32" fmla="*/ 9205 w 10012"/>
              <a:gd name="connsiteY32" fmla="*/ 7352 h 10000"/>
              <a:gd name="connsiteX33" fmla="*/ 9240 w 10012"/>
              <a:gd name="connsiteY33" fmla="*/ 7794 h 10000"/>
              <a:gd name="connsiteX34" fmla="*/ 9319 w 10012"/>
              <a:gd name="connsiteY34" fmla="*/ 7565 h 10000"/>
              <a:gd name="connsiteX35" fmla="*/ 9433 w 10012"/>
              <a:gd name="connsiteY35" fmla="*/ 7687 h 10000"/>
              <a:gd name="connsiteX36" fmla="*/ 9493 w 10012"/>
              <a:gd name="connsiteY36" fmla="*/ 7948 h 10000"/>
              <a:gd name="connsiteX37" fmla="*/ 9527 w 10012"/>
              <a:gd name="connsiteY37" fmla="*/ 7710 h 10000"/>
              <a:gd name="connsiteX38" fmla="*/ 9586 w 10012"/>
              <a:gd name="connsiteY38" fmla="*/ 7913 h 10000"/>
              <a:gd name="connsiteX39" fmla="*/ 9627 w 10012"/>
              <a:gd name="connsiteY39" fmla="*/ 7220 h 10000"/>
              <a:gd name="connsiteX40" fmla="*/ 9733 w 10012"/>
              <a:gd name="connsiteY40" fmla="*/ 7889 h 10000"/>
              <a:gd name="connsiteX41" fmla="*/ 9846 w 10012"/>
              <a:gd name="connsiteY41" fmla="*/ 7547 h 10000"/>
              <a:gd name="connsiteX42" fmla="*/ 9848 w 10012"/>
              <a:gd name="connsiteY42" fmla="*/ 7270 h 10000"/>
              <a:gd name="connsiteX43" fmla="*/ 9934 w 10012"/>
              <a:gd name="connsiteY43" fmla="*/ 7580 h 10000"/>
              <a:gd name="connsiteX44" fmla="*/ 10012 w 10012"/>
              <a:gd name="connsiteY44" fmla="*/ 7423 h 10000"/>
              <a:gd name="connsiteX0" fmla="*/ 0 w 10012"/>
              <a:gd name="connsiteY0" fmla="*/ 10000 h 10000"/>
              <a:gd name="connsiteX1" fmla="*/ 796 w 10012"/>
              <a:gd name="connsiteY1" fmla="*/ 2080 h 10000"/>
              <a:gd name="connsiteX2" fmla="*/ 1461 w 10012"/>
              <a:gd name="connsiteY2" fmla="*/ 2238 h 10000"/>
              <a:gd name="connsiteX3" fmla="*/ 1832 w 10012"/>
              <a:gd name="connsiteY3" fmla="*/ 2105 h 10000"/>
              <a:gd name="connsiteX4" fmla="*/ 3124 w 10012"/>
              <a:gd name="connsiteY4" fmla="*/ 1791 h 10000"/>
              <a:gd name="connsiteX5" fmla="*/ 3227 w 10012"/>
              <a:gd name="connsiteY5" fmla="*/ 2820 h 10000"/>
              <a:gd name="connsiteX6" fmla="*/ 3590 w 10012"/>
              <a:gd name="connsiteY6" fmla="*/ 2500 h 10000"/>
              <a:gd name="connsiteX7" fmla="*/ 3685 w 10012"/>
              <a:gd name="connsiteY7" fmla="*/ 1432 h 10000"/>
              <a:gd name="connsiteX8" fmla="*/ 3754 w 10012"/>
              <a:gd name="connsiteY8" fmla="*/ 1148 h 10000"/>
              <a:gd name="connsiteX9" fmla="*/ 4365 w 10012"/>
              <a:gd name="connsiteY9" fmla="*/ 6693 h 10000"/>
              <a:gd name="connsiteX10" fmla="*/ 4577 w 10012"/>
              <a:gd name="connsiteY10" fmla="*/ 6680 h 10000"/>
              <a:gd name="connsiteX11" fmla="*/ 5263 w 10012"/>
              <a:gd name="connsiteY11" fmla="*/ 766 h 10000"/>
              <a:gd name="connsiteX12" fmla="*/ 5262 w 10012"/>
              <a:gd name="connsiteY12" fmla="*/ 745 h 10000"/>
              <a:gd name="connsiteX13" fmla="*/ 5778 w 10012"/>
              <a:gd name="connsiteY13" fmla="*/ 1286 h 10000"/>
              <a:gd name="connsiteX14" fmla="*/ 5946 w 10012"/>
              <a:gd name="connsiteY14" fmla="*/ 0 h 10000"/>
              <a:gd name="connsiteX15" fmla="*/ 6493 w 10012"/>
              <a:gd name="connsiteY15" fmla="*/ 111 h 10000"/>
              <a:gd name="connsiteX16" fmla="*/ 6806 w 10012"/>
              <a:gd name="connsiteY16" fmla="*/ 42 h 10000"/>
              <a:gd name="connsiteX17" fmla="*/ 7003 w 10012"/>
              <a:gd name="connsiteY17" fmla="*/ 361 h 10000"/>
              <a:gd name="connsiteX18" fmla="*/ 7476 w 10012"/>
              <a:gd name="connsiteY18" fmla="*/ 6005 h 10000"/>
              <a:gd name="connsiteX19" fmla="*/ 8179 w 10012"/>
              <a:gd name="connsiteY19" fmla="*/ 6020 h 10000"/>
              <a:gd name="connsiteX20" fmla="*/ 8378 w 10012"/>
              <a:gd name="connsiteY20" fmla="*/ 4920 h 10000"/>
              <a:gd name="connsiteX21" fmla="*/ 8509 w 10012"/>
              <a:gd name="connsiteY21" fmla="*/ 5527 h 10000"/>
              <a:gd name="connsiteX22" fmla="*/ 8594 w 10012"/>
              <a:gd name="connsiteY22" fmla="*/ 4983 h 10000"/>
              <a:gd name="connsiteX23" fmla="*/ 8659 w 10012"/>
              <a:gd name="connsiteY23" fmla="*/ 7656 h 10000"/>
              <a:gd name="connsiteX24" fmla="*/ 8726 w 10012"/>
              <a:gd name="connsiteY24" fmla="*/ 6573 h 10000"/>
              <a:gd name="connsiteX25" fmla="*/ 8822 w 10012"/>
              <a:gd name="connsiteY25" fmla="*/ 7792 h 10000"/>
              <a:gd name="connsiteX26" fmla="*/ 8875 w 10012"/>
              <a:gd name="connsiteY26" fmla="*/ 7573 h 10000"/>
              <a:gd name="connsiteX27" fmla="*/ 8901 w 10012"/>
              <a:gd name="connsiteY27" fmla="*/ 7948 h 10000"/>
              <a:gd name="connsiteX28" fmla="*/ 8998 w 10012"/>
              <a:gd name="connsiteY28" fmla="*/ 7961 h 10000"/>
              <a:gd name="connsiteX29" fmla="*/ 9004 w 10012"/>
              <a:gd name="connsiteY29" fmla="*/ 7688 h 10000"/>
              <a:gd name="connsiteX30" fmla="*/ 9117 w 10012"/>
              <a:gd name="connsiteY30" fmla="*/ 7907 h 10000"/>
              <a:gd name="connsiteX31" fmla="*/ 9180 w 10012"/>
              <a:gd name="connsiteY31" fmla="*/ 7811 h 10000"/>
              <a:gd name="connsiteX32" fmla="*/ 9205 w 10012"/>
              <a:gd name="connsiteY32" fmla="*/ 7352 h 10000"/>
              <a:gd name="connsiteX33" fmla="*/ 9240 w 10012"/>
              <a:gd name="connsiteY33" fmla="*/ 7794 h 10000"/>
              <a:gd name="connsiteX34" fmla="*/ 9319 w 10012"/>
              <a:gd name="connsiteY34" fmla="*/ 7565 h 10000"/>
              <a:gd name="connsiteX35" fmla="*/ 9433 w 10012"/>
              <a:gd name="connsiteY35" fmla="*/ 7687 h 10000"/>
              <a:gd name="connsiteX36" fmla="*/ 9493 w 10012"/>
              <a:gd name="connsiteY36" fmla="*/ 7948 h 10000"/>
              <a:gd name="connsiteX37" fmla="*/ 9527 w 10012"/>
              <a:gd name="connsiteY37" fmla="*/ 7710 h 10000"/>
              <a:gd name="connsiteX38" fmla="*/ 9586 w 10012"/>
              <a:gd name="connsiteY38" fmla="*/ 7913 h 10000"/>
              <a:gd name="connsiteX39" fmla="*/ 9627 w 10012"/>
              <a:gd name="connsiteY39" fmla="*/ 7220 h 10000"/>
              <a:gd name="connsiteX40" fmla="*/ 9733 w 10012"/>
              <a:gd name="connsiteY40" fmla="*/ 7889 h 10000"/>
              <a:gd name="connsiteX41" fmla="*/ 9846 w 10012"/>
              <a:gd name="connsiteY41" fmla="*/ 7547 h 10000"/>
              <a:gd name="connsiteX42" fmla="*/ 9848 w 10012"/>
              <a:gd name="connsiteY42" fmla="*/ 7270 h 10000"/>
              <a:gd name="connsiteX43" fmla="*/ 9934 w 10012"/>
              <a:gd name="connsiteY43" fmla="*/ 7580 h 10000"/>
              <a:gd name="connsiteX44" fmla="*/ 10012 w 10012"/>
              <a:gd name="connsiteY44" fmla="*/ 7423 h 10000"/>
              <a:gd name="connsiteX0" fmla="*/ 0 w 10012"/>
              <a:gd name="connsiteY0" fmla="*/ 10000 h 10000"/>
              <a:gd name="connsiteX1" fmla="*/ 796 w 10012"/>
              <a:gd name="connsiteY1" fmla="*/ 2080 h 10000"/>
              <a:gd name="connsiteX2" fmla="*/ 1461 w 10012"/>
              <a:gd name="connsiteY2" fmla="*/ 2238 h 10000"/>
              <a:gd name="connsiteX3" fmla="*/ 1832 w 10012"/>
              <a:gd name="connsiteY3" fmla="*/ 2105 h 10000"/>
              <a:gd name="connsiteX4" fmla="*/ 3124 w 10012"/>
              <a:gd name="connsiteY4" fmla="*/ 1791 h 10000"/>
              <a:gd name="connsiteX5" fmla="*/ 3227 w 10012"/>
              <a:gd name="connsiteY5" fmla="*/ 2820 h 10000"/>
              <a:gd name="connsiteX6" fmla="*/ 3590 w 10012"/>
              <a:gd name="connsiteY6" fmla="*/ 2500 h 10000"/>
              <a:gd name="connsiteX7" fmla="*/ 3685 w 10012"/>
              <a:gd name="connsiteY7" fmla="*/ 1432 h 10000"/>
              <a:gd name="connsiteX8" fmla="*/ 3754 w 10012"/>
              <a:gd name="connsiteY8" fmla="*/ 1148 h 10000"/>
              <a:gd name="connsiteX9" fmla="*/ 4365 w 10012"/>
              <a:gd name="connsiteY9" fmla="*/ 6693 h 10000"/>
              <a:gd name="connsiteX10" fmla="*/ 4577 w 10012"/>
              <a:gd name="connsiteY10" fmla="*/ 6680 h 10000"/>
              <a:gd name="connsiteX11" fmla="*/ 5263 w 10012"/>
              <a:gd name="connsiteY11" fmla="*/ 766 h 10000"/>
              <a:gd name="connsiteX12" fmla="*/ 5262 w 10012"/>
              <a:gd name="connsiteY12" fmla="*/ 745 h 10000"/>
              <a:gd name="connsiteX13" fmla="*/ 5778 w 10012"/>
              <a:gd name="connsiteY13" fmla="*/ 1286 h 10000"/>
              <a:gd name="connsiteX14" fmla="*/ 5946 w 10012"/>
              <a:gd name="connsiteY14" fmla="*/ 0 h 10000"/>
              <a:gd name="connsiteX15" fmla="*/ 6493 w 10012"/>
              <a:gd name="connsiteY15" fmla="*/ 111 h 10000"/>
              <a:gd name="connsiteX16" fmla="*/ 6806 w 10012"/>
              <a:gd name="connsiteY16" fmla="*/ 42 h 10000"/>
              <a:gd name="connsiteX17" fmla="*/ 7003 w 10012"/>
              <a:gd name="connsiteY17" fmla="*/ 361 h 10000"/>
              <a:gd name="connsiteX18" fmla="*/ 7476 w 10012"/>
              <a:gd name="connsiteY18" fmla="*/ 6005 h 10000"/>
              <a:gd name="connsiteX19" fmla="*/ 8179 w 10012"/>
              <a:gd name="connsiteY19" fmla="*/ 6020 h 10000"/>
              <a:gd name="connsiteX20" fmla="*/ 8378 w 10012"/>
              <a:gd name="connsiteY20" fmla="*/ 4920 h 10000"/>
              <a:gd name="connsiteX21" fmla="*/ 8509 w 10012"/>
              <a:gd name="connsiteY21" fmla="*/ 5527 h 10000"/>
              <a:gd name="connsiteX22" fmla="*/ 8594 w 10012"/>
              <a:gd name="connsiteY22" fmla="*/ 4983 h 10000"/>
              <a:gd name="connsiteX23" fmla="*/ 8659 w 10012"/>
              <a:gd name="connsiteY23" fmla="*/ 7656 h 10000"/>
              <a:gd name="connsiteX24" fmla="*/ 8726 w 10012"/>
              <a:gd name="connsiteY24" fmla="*/ 6573 h 10000"/>
              <a:gd name="connsiteX25" fmla="*/ 8822 w 10012"/>
              <a:gd name="connsiteY25" fmla="*/ 7792 h 10000"/>
              <a:gd name="connsiteX26" fmla="*/ 8875 w 10012"/>
              <a:gd name="connsiteY26" fmla="*/ 7573 h 10000"/>
              <a:gd name="connsiteX27" fmla="*/ 8901 w 10012"/>
              <a:gd name="connsiteY27" fmla="*/ 7948 h 10000"/>
              <a:gd name="connsiteX28" fmla="*/ 8998 w 10012"/>
              <a:gd name="connsiteY28" fmla="*/ 7961 h 10000"/>
              <a:gd name="connsiteX29" fmla="*/ 9004 w 10012"/>
              <a:gd name="connsiteY29" fmla="*/ 7688 h 10000"/>
              <a:gd name="connsiteX30" fmla="*/ 9117 w 10012"/>
              <a:gd name="connsiteY30" fmla="*/ 7907 h 10000"/>
              <a:gd name="connsiteX31" fmla="*/ 9180 w 10012"/>
              <a:gd name="connsiteY31" fmla="*/ 7811 h 10000"/>
              <a:gd name="connsiteX32" fmla="*/ 9205 w 10012"/>
              <a:gd name="connsiteY32" fmla="*/ 7352 h 10000"/>
              <a:gd name="connsiteX33" fmla="*/ 9240 w 10012"/>
              <a:gd name="connsiteY33" fmla="*/ 7794 h 10000"/>
              <a:gd name="connsiteX34" fmla="*/ 9319 w 10012"/>
              <a:gd name="connsiteY34" fmla="*/ 7565 h 10000"/>
              <a:gd name="connsiteX35" fmla="*/ 9433 w 10012"/>
              <a:gd name="connsiteY35" fmla="*/ 7687 h 10000"/>
              <a:gd name="connsiteX36" fmla="*/ 9493 w 10012"/>
              <a:gd name="connsiteY36" fmla="*/ 7948 h 10000"/>
              <a:gd name="connsiteX37" fmla="*/ 9527 w 10012"/>
              <a:gd name="connsiteY37" fmla="*/ 7710 h 10000"/>
              <a:gd name="connsiteX38" fmla="*/ 9586 w 10012"/>
              <a:gd name="connsiteY38" fmla="*/ 7913 h 10000"/>
              <a:gd name="connsiteX39" fmla="*/ 9627 w 10012"/>
              <a:gd name="connsiteY39" fmla="*/ 7220 h 10000"/>
              <a:gd name="connsiteX40" fmla="*/ 9733 w 10012"/>
              <a:gd name="connsiteY40" fmla="*/ 7889 h 10000"/>
              <a:gd name="connsiteX41" fmla="*/ 9846 w 10012"/>
              <a:gd name="connsiteY41" fmla="*/ 7547 h 10000"/>
              <a:gd name="connsiteX42" fmla="*/ 9848 w 10012"/>
              <a:gd name="connsiteY42" fmla="*/ 7270 h 10000"/>
              <a:gd name="connsiteX43" fmla="*/ 9934 w 10012"/>
              <a:gd name="connsiteY43" fmla="*/ 7580 h 10000"/>
              <a:gd name="connsiteX44" fmla="*/ 10012 w 10012"/>
              <a:gd name="connsiteY44" fmla="*/ 7423 h 10000"/>
              <a:gd name="connsiteX0" fmla="*/ 0 w 10012"/>
              <a:gd name="connsiteY0" fmla="*/ 10000 h 10000"/>
              <a:gd name="connsiteX1" fmla="*/ 796 w 10012"/>
              <a:gd name="connsiteY1" fmla="*/ 2080 h 10000"/>
              <a:gd name="connsiteX2" fmla="*/ 1461 w 10012"/>
              <a:gd name="connsiteY2" fmla="*/ 2109 h 10000"/>
              <a:gd name="connsiteX3" fmla="*/ 1832 w 10012"/>
              <a:gd name="connsiteY3" fmla="*/ 2105 h 10000"/>
              <a:gd name="connsiteX4" fmla="*/ 3124 w 10012"/>
              <a:gd name="connsiteY4" fmla="*/ 1791 h 10000"/>
              <a:gd name="connsiteX5" fmla="*/ 3227 w 10012"/>
              <a:gd name="connsiteY5" fmla="*/ 2820 h 10000"/>
              <a:gd name="connsiteX6" fmla="*/ 3590 w 10012"/>
              <a:gd name="connsiteY6" fmla="*/ 2500 h 10000"/>
              <a:gd name="connsiteX7" fmla="*/ 3685 w 10012"/>
              <a:gd name="connsiteY7" fmla="*/ 1432 h 10000"/>
              <a:gd name="connsiteX8" fmla="*/ 3754 w 10012"/>
              <a:gd name="connsiteY8" fmla="*/ 1148 h 10000"/>
              <a:gd name="connsiteX9" fmla="*/ 4365 w 10012"/>
              <a:gd name="connsiteY9" fmla="*/ 6693 h 10000"/>
              <a:gd name="connsiteX10" fmla="*/ 4577 w 10012"/>
              <a:gd name="connsiteY10" fmla="*/ 6680 h 10000"/>
              <a:gd name="connsiteX11" fmla="*/ 5263 w 10012"/>
              <a:gd name="connsiteY11" fmla="*/ 766 h 10000"/>
              <a:gd name="connsiteX12" fmla="*/ 5262 w 10012"/>
              <a:gd name="connsiteY12" fmla="*/ 745 h 10000"/>
              <a:gd name="connsiteX13" fmla="*/ 5778 w 10012"/>
              <a:gd name="connsiteY13" fmla="*/ 1286 h 10000"/>
              <a:gd name="connsiteX14" fmla="*/ 5946 w 10012"/>
              <a:gd name="connsiteY14" fmla="*/ 0 h 10000"/>
              <a:gd name="connsiteX15" fmla="*/ 6493 w 10012"/>
              <a:gd name="connsiteY15" fmla="*/ 111 h 10000"/>
              <a:gd name="connsiteX16" fmla="*/ 6806 w 10012"/>
              <a:gd name="connsiteY16" fmla="*/ 42 h 10000"/>
              <a:gd name="connsiteX17" fmla="*/ 7003 w 10012"/>
              <a:gd name="connsiteY17" fmla="*/ 361 h 10000"/>
              <a:gd name="connsiteX18" fmla="*/ 7476 w 10012"/>
              <a:gd name="connsiteY18" fmla="*/ 6005 h 10000"/>
              <a:gd name="connsiteX19" fmla="*/ 8179 w 10012"/>
              <a:gd name="connsiteY19" fmla="*/ 6020 h 10000"/>
              <a:gd name="connsiteX20" fmla="*/ 8378 w 10012"/>
              <a:gd name="connsiteY20" fmla="*/ 4920 h 10000"/>
              <a:gd name="connsiteX21" fmla="*/ 8509 w 10012"/>
              <a:gd name="connsiteY21" fmla="*/ 5527 h 10000"/>
              <a:gd name="connsiteX22" fmla="*/ 8594 w 10012"/>
              <a:gd name="connsiteY22" fmla="*/ 4983 h 10000"/>
              <a:gd name="connsiteX23" fmla="*/ 8659 w 10012"/>
              <a:gd name="connsiteY23" fmla="*/ 7656 h 10000"/>
              <a:gd name="connsiteX24" fmla="*/ 8726 w 10012"/>
              <a:gd name="connsiteY24" fmla="*/ 6573 h 10000"/>
              <a:gd name="connsiteX25" fmla="*/ 8822 w 10012"/>
              <a:gd name="connsiteY25" fmla="*/ 7792 h 10000"/>
              <a:gd name="connsiteX26" fmla="*/ 8875 w 10012"/>
              <a:gd name="connsiteY26" fmla="*/ 7573 h 10000"/>
              <a:gd name="connsiteX27" fmla="*/ 8901 w 10012"/>
              <a:gd name="connsiteY27" fmla="*/ 7948 h 10000"/>
              <a:gd name="connsiteX28" fmla="*/ 8998 w 10012"/>
              <a:gd name="connsiteY28" fmla="*/ 7961 h 10000"/>
              <a:gd name="connsiteX29" fmla="*/ 9004 w 10012"/>
              <a:gd name="connsiteY29" fmla="*/ 7688 h 10000"/>
              <a:gd name="connsiteX30" fmla="*/ 9117 w 10012"/>
              <a:gd name="connsiteY30" fmla="*/ 7907 h 10000"/>
              <a:gd name="connsiteX31" fmla="*/ 9180 w 10012"/>
              <a:gd name="connsiteY31" fmla="*/ 7811 h 10000"/>
              <a:gd name="connsiteX32" fmla="*/ 9205 w 10012"/>
              <a:gd name="connsiteY32" fmla="*/ 7352 h 10000"/>
              <a:gd name="connsiteX33" fmla="*/ 9240 w 10012"/>
              <a:gd name="connsiteY33" fmla="*/ 7794 h 10000"/>
              <a:gd name="connsiteX34" fmla="*/ 9319 w 10012"/>
              <a:gd name="connsiteY34" fmla="*/ 7565 h 10000"/>
              <a:gd name="connsiteX35" fmla="*/ 9433 w 10012"/>
              <a:gd name="connsiteY35" fmla="*/ 7687 h 10000"/>
              <a:gd name="connsiteX36" fmla="*/ 9493 w 10012"/>
              <a:gd name="connsiteY36" fmla="*/ 7948 h 10000"/>
              <a:gd name="connsiteX37" fmla="*/ 9527 w 10012"/>
              <a:gd name="connsiteY37" fmla="*/ 7710 h 10000"/>
              <a:gd name="connsiteX38" fmla="*/ 9586 w 10012"/>
              <a:gd name="connsiteY38" fmla="*/ 7913 h 10000"/>
              <a:gd name="connsiteX39" fmla="*/ 9627 w 10012"/>
              <a:gd name="connsiteY39" fmla="*/ 7220 h 10000"/>
              <a:gd name="connsiteX40" fmla="*/ 9733 w 10012"/>
              <a:gd name="connsiteY40" fmla="*/ 7889 h 10000"/>
              <a:gd name="connsiteX41" fmla="*/ 9846 w 10012"/>
              <a:gd name="connsiteY41" fmla="*/ 7547 h 10000"/>
              <a:gd name="connsiteX42" fmla="*/ 9848 w 10012"/>
              <a:gd name="connsiteY42" fmla="*/ 7270 h 10000"/>
              <a:gd name="connsiteX43" fmla="*/ 9934 w 10012"/>
              <a:gd name="connsiteY43" fmla="*/ 7580 h 10000"/>
              <a:gd name="connsiteX44" fmla="*/ 10012 w 10012"/>
              <a:gd name="connsiteY44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461 w 10012"/>
              <a:gd name="connsiteY2" fmla="*/ 2109 h 10000"/>
              <a:gd name="connsiteX3" fmla="*/ 1832 w 10012"/>
              <a:gd name="connsiteY3" fmla="*/ 2105 h 10000"/>
              <a:gd name="connsiteX4" fmla="*/ 3124 w 10012"/>
              <a:gd name="connsiteY4" fmla="*/ 1791 h 10000"/>
              <a:gd name="connsiteX5" fmla="*/ 3227 w 10012"/>
              <a:gd name="connsiteY5" fmla="*/ 2820 h 10000"/>
              <a:gd name="connsiteX6" fmla="*/ 3590 w 10012"/>
              <a:gd name="connsiteY6" fmla="*/ 2500 h 10000"/>
              <a:gd name="connsiteX7" fmla="*/ 3685 w 10012"/>
              <a:gd name="connsiteY7" fmla="*/ 1432 h 10000"/>
              <a:gd name="connsiteX8" fmla="*/ 3754 w 10012"/>
              <a:gd name="connsiteY8" fmla="*/ 1148 h 10000"/>
              <a:gd name="connsiteX9" fmla="*/ 4365 w 10012"/>
              <a:gd name="connsiteY9" fmla="*/ 6693 h 10000"/>
              <a:gd name="connsiteX10" fmla="*/ 4577 w 10012"/>
              <a:gd name="connsiteY10" fmla="*/ 6680 h 10000"/>
              <a:gd name="connsiteX11" fmla="*/ 5263 w 10012"/>
              <a:gd name="connsiteY11" fmla="*/ 766 h 10000"/>
              <a:gd name="connsiteX12" fmla="*/ 5262 w 10012"/>
              <a:gd name="connsiteY12" fmla="*/ 745 h 10000"/>
              <a:gd name="connsiteX13" fmla="*/ 5778 w 10012"/>
              <a:gd name="connsiteY13" fmla="*/ 1286 h 10000"/>
              <a:gd name="connsiteX14" fmla="*/ 5946 w 10012"/>
              <a:gd name="connsiteY14" fmla="*/ 0 h 10000"/>
              <a:gd name="connsiteX15" fmla="*/ 6493 w 10012"/>
              <a:gd name="connsiteY15" fmla="*/ 111 h 10000"/>
              <a:gd name="connsiteX16" fmla="*/ 6806 w 10012"/>
              <a:gd name="connsiteY16" fmla="*/ 42 h 10000"/>
              <a:gd name="connsiteX17" fmla="*/ 7003 w 10012"/>
              <a:gd name="connsiteY17" fmla="*/ 361 h 10000"/>
              <a:gd name="connsiteX18" fmla="*/ 7476 w 10012"/>
              <a:gd name="connsiteY18" fmla="*/ 6005 h 10000"/>
              <a:gd name="connsiteX19" fmla="*/ 8179 w 10012"/>
              <a:gd name="connsiteY19" fmla="*/ 6020 h 10000"/>
              <a:gd name="connsiteX20" fmla="*/ 8378 w 10012"/>
              <a:gd name="connsiteY20" fmla="*/ 4920 h 10000"/>
              <a:gd name="connsiteX21" fmla="*/ 8509 w 10012"/>
              <a:gd name="connsiteY21" fmla="*/ 5527 h 10000"/>
              <a:gd name="connsiteX22" fmla="*/ 8594 w 10012"/>
              <a:gd name="connsiteY22" fmla="*/ 4983 h 10000"/>
              <a:gd name="connsiteX23" fmla="*/ 8659 w 10012"/>
              <a:gd name="connsiteY23" fmla="*/ 7656 h 10000"/>
              <a:gd name="connsiteX24" fmla="*/ 8726 w 10012"/>
              <a:gd name="connsiteY24" fmla="*/ 6573 h 10000"/>
              <a:gd name="connsiteX25" fmla="*/ 8822 w 10012"/>
              <a:gd name="connsiteY25" fmla="*/ 7792 h 10000"/>
              <a:gd name="connsiteX26" fmla="*/ 8875 w 10012"/>
              <a:gd name="connsiteY26" fmla="*/ 7573 h 10000"/>
              <a:gd name="connsiteX27" fmla="*/ 8901 w 10012"/>
              <a:gd name="connsiteY27" fmla="*/ 7948 h 10000"/>
              <a:gd name="connsiteX28" fmla="*/ 8998 w 10012"/>
              <a:gd name="connsiteY28" fmla="*/ 7961 h 10000"/>
              <a:gd name="connsiteX29" fmla="*/ 9004 w 10012"/>
              <a:gd name="connsiteY29" fmla="*/ 7688 h 10000"/>
              <a:gd name="connsiteX30" fmla="*/ 9117 w 10012"/>
              <a:gd name="connsiteY30" fmla="*/ 7907 h 10000"/>
              <a:gd name="connsiteX31" fmla="*/ 9180 w 10012"/>
              <a:gd name="connsiteY31" fmla="*/ 7811 h 10000"/>
              <a:gd name="connsiteX32" fmla="*/ 9205 w 10012"/>
              <a:gd name="connsiteY32" fmla="*/ 7352 h 10000"/>
              <a:gd name="connsiteX33" fmla="*/ 9240 w 10012"/>
              <a:gd name="connsiteY33" fmla="*/ 7794 h 10000"/>
              <a:gd name="connsiteX34" fmla="*/ 9319 w 10012"/>
              <a:gd name="connsiteY34" fmla="*/ 7565 h 10000"/>
              <a:gd name="connsiteX35" fmla="*/ 9433 w 10012"/>
              <a:gd name="connsiteY35" fmla="*/ 7687 h 10000"/>
              <a:gd name="connsiteX36" fmla="*/ 9493 w 10012"/>
              <a:gd name="connsiteY36" fmla="*/ 7948 h 10000"/>
              <a:gd name="connsiteX37" fmla="*/ 9527 w 10012"/>
              <a:gd name="connsiteY37" fmla="*/ 7710 h 10000"/>
              <a:gd name="connsiteX38" fmla="*/ 9586 w 10012"/>
              <a:gd name="connsiteY38" fmla="*/ 7913 h 10000"/>
              <a:gd name="connsiteX39" fmla="*/ 9627 w 10012"/>
              <a:gd name="connsiteY39" fmla="*/ 7220 h 10000"/>
              <a:gd name="connsiteX40" fmla="*/ 9733 w 10012"/>
              <a:gd name="connsiteY40" fmla="*/ 7889 h 10000"/>
              <a:gd name="connsiteX41" fmla="*/ 9846 w 10012"/>
              <a:gd name="connsiteY41" fmla="*/ 7547 h 10000"/>
              <a:gd name="connsiteX42" fmla="*/ 9848 w 10012"/>
              <a:gd name="connsiteY42" fmla="*/ 7270 h 10000"/>
              <a:gd name="connsiteX43" fmla="*/ 9934 w 10012"/>
              <a:gd name="connsiteY43" fmla="*/ 7580 h 10000"/>
              <a:gd name="connsiteX44" fmla="*/ 10012 w 10012"/>
              <a:gd name="connsiteY44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1832 w 10012"/>
              <a:gd name="connsiteY3" fmla="*/ 2105 h 10000"/>
              <a:gd name="connsiteX4" fmla="*/ 3124 w 10012"/>
              <a:gd name="connsiteY4" fmla="*/ 1791 h 10000"/>
              <a:gd name="connsiteX5" fmla="*/ 3227 w 10012"/>
              <a:gd name="connsiteY5" fmla="*/ 2820 h 10000"/>
              <a:gd name="connsiteX6" fmla="*/ 3590 w 10012"/>
              <a:gd name="connsiteY6" fmla="*/ 2500 h 10000"/>
              <a:gd name="connsiteX7" fmla="*/ 3685 w 10012"/>
              <a:gd name="connsiteY7" fmla="*/ 1432 h 10000"/>
              <a:gd name="connsiteX8" fmla="*/ 3754 w 10012"/>
              <a:gd name="connsiteY8" fmla="*/ 1148 h 10000"/>
              <a:gd name="connsiteX9" fmla="*/ 4365 w 10012"/>
              <a:gd name="connsiteY9" fmla="*/ 6693 h 10000"/>
              <a:gd name="connsiteX10" fmla="*/ 4577 w 10012"/>
              <a:gd name="connsiteY10" fmla="*/ 6680 h 10000"/>
              <a:gd name="connsiteX11" fmla="*/ 5263 w 10012"/>
              <a:gd name="connsiteY11" fmla="*/ 766 h 10000"/>
              <a:gd name="connsiteX12" fmla="*/ 5262 w 10012"/>
              <a:gd name="connsiteY12" fmla="*/ 745 h 10000"/>
              <a:gd name="connsiteX13" fmla="*/ 5778 w 10012"/>
              <a:gd name="connsiteY13" fmla="*/ 1286 h 10000"/>
              <a:gd name="connsiteX14" fmla="*/ 5946 w 10012"/>
              <a:gd name="connsiteY14" fmla="*/ 0 h 10000"/>
              <a:gd name="connsiteX15" fmla="*/ 6493 w 10012"/>
              <a:gd name="connsiteY15" fmla="*/ 111 h 10000"/>
              <a:gd name="connsiteX16" fmla="*/ 6806 w 10012"/>
              <a:gd name="connsiteY16" fmla="*/ 42 h 10000"/>
              <a:gd name="connsiteX17" fmla="*/ 7003 w 10012"/>
              <a:gd name="connsiteY17" fmla="*/ 361 h 10000"/>
              <a:gd name="connsiteX18" fmla="*/ 7476 w 10012"/>
              <a:gd name="connsiteY18" fmla="*/ 6005 h 10000"/>
              <a:gd name="connsiteX19" fmla="*/ 8179 w 10012"/>
              <a:gd name="connsiteY19" fmla="*/ 6020 h 10000"/>
              <a:gd name="connsiteX20" fmla="*/ 8378 w 10012"/>
              <a:gd name="connsiteY20" fmla="*/ 4920 h 10000"/>
              <a:gd name="connsiteX21" fmla="*/ 8509 w 10012"/>
              <a:gd name="connsiteY21" fmla="*/ 5527 h 10000"/>
              <a:gd name="connsiteX22" fmla="*/ 8594 w 10012"/>
              <a:gd name="connsiteY22" fmla="*/ 4983 h 10000"/>
              <a:gd name="connsiteX23" fmla="*/ 8659 w 10012"/>
              <a:gd name="connsiteY23" fmla="*/ 7656 h 10000"/>
              <a:gd name="connsiteX24" fmla="*/ 8726 w 10012"/>
              <a:gd name="connsiteY24" fmla="*/ 6573 h 10000"/>
              <a:gd name="connsiteX25" fmla="*/ 8822 w 10012"/>
              <a:gd name="connsiteY25" fmla="*/ 7792 h 10000"/>
              <a:gd name="connsiteX26" fmla="*/ 8875 w 10012"/>
              <a:gd name="connsiteY26" fmla="*/ 7573 h 10000"/>
              <a:gd name="connsiteX27" fmla="*/ 8901 w 10012"/>
              <a:gd name="connsiteY27" fmla="*/ 7948 h 10000"/>
              <a:gd name="connsiteX28" fmla="*/ 8998 w 10012"/>
              <a:gd name="connsiteY28" fmla="*/ 7961 h 10000"/>
              <a:gd name="connsiteX29" fmla="*/ 9004 w 10012"/>
              <a:gd name="connsiteY29" fmla="*/ 7688 h 10000"/>
              <a:gd name="connsiteX30" fmla="*/ 9117 w 10012"/>
              <a:gd name="connsiteY30" fmla="*/ 7907 h 10000"/>
              <a:gd name="connsiteX31" fmla="*/ 9180 w 10012"/>
              <a:gd name="connsiteY31" fmla="*/ 7811 h 10000"/>
              <a:gd name="connsiteX32" fmla="*/ 9205 w 10012"/>
              <a:gd name="connsiteY32" fmla="*/ 7352 h 10000"/>
              <a:gd name="connsiteX33" fmla="*/ 9240 w 10012"/>
              <a:gd name="connsiteY33" fmla="*/ 7794 h 10000"/>
              <a:gd name="connsiteX34" fmla="*/ 9319 w 10012"/>
              <a:gd name="connsiteY34" fmla="*/ 7565 h 10000"/>
              <a:gd name="connsiteX35" fmla="*/ 9433 w 10012"/>
              <a:gd name="connsiteY35" fmla="*/ 7687 h 10000"/>
              <a:gd name="connsiteX36" fmla="*/ 9493 w 10012"/>
              <a:gd name="connsiteY36" fmla="*/ 7948 h 10000"/>
              <a:gd name="connsiteX37" fmla="*/ 9527 w 10012"/>
              <a:gd name="connsiteY37" fmla="*/ 7710 h 10000"/>
              <a:gd name="connsiteX38" fmla="*/ 9586 w 10012"/>
              <a:gd name="connsiteY38" fmla="*/ 7913 h 10000"/>
              <a:gd name="connsiteX39" fmla="*/ 9627 w 10012"/>
              <a:gd name="connsiteY39" fmla="*/ 7220 h 10000"/>
              <a:gd name="connsiteX40" fmla="*/ 9733 w 10012"/>
              <a:gd name="connsiteY40" fmla="*/ 7889 h 10000"/>
              <a:gd name="connsiteX41" fmla="*/ 9846 w 10012"/>
              <a:gd name="connsiteY41" fmla="*/ 7547 h 10000"/>
              <a:gd name="connsiteX42" fmla="*/ 9848 w 10012"/>
              <a:gd name="connsiteY42" fmla="*/ 7270 h 10000"/>
              <a:gd name="connsiteX43" fmla="*/ 9934 w 10012"/>
              <a:gd name="connsiteY43" fmla="*/ 7580 h 10000"/>
              <a:gd name="connsiteX44" fmla="*/ 10012 w 10012"/>
              <a:gd name="connsiteY44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24 w 10012"/>
              <a:gd name="connsiteY3" fmla="*/ 1791 h 10000"/>
              <a:gd name="connsiteX4" fmla="*/ 3227 w 10012"/>
              <a:gd name="connsiteY4" fmla="*/ 2820 h 10000"/>
              <a:gd name="connsiteX5" fmla="*/ 3590 w 10012"/>
              <a:gd name="connsiteY5" fmla="*/ 2500 h 10000"/>
              <a:gd name="connsiteX6" fmla="*/ 3685 w 10012"/>
              <a:gd name="connsiteY6" fmla="*/ 1432 h 10000"/>
              <a:gd name="connsiteX7" fmla="*/ 3754 w 10012"/>
              <a:gd name="connsiteY7" fmla="*/ 1148 h 10000"/>
              <a:gd name="connsiteX8" fmla="*/ 4365 w 10012"/>
              <a:gd name="connsiteY8" fmla="*/ 6693 h 10000"/>
              <a:gd name="connsiteX9" fmla="*/ 4577 w 10012"/>
              <a:gd name="connsiteY9" fmla="*/ 6680 h 10000"/>
              <a:gd name="connsiteX10" fmla="*/ 5263 w 10012"/>
              <a:gd name="connsiteY10" fmla="*/ 766 h 10000"/>
              <a:gd name="connsiteX11" fmla="*/ 5262 w 10012"/>
              <a:gd name="connsiteY11" fmla="*/ 745 h 10000"/>
              <a:gd name="connsiteX12" fmla="*/ 5778 w 10012"/>
              <a:gd name="connsiteY12" fmla="*/ 1286 h 10000"/>
              <a:gd name="connsiteX13" fmla="*/ 5946 w 10012"/>
              <a:gd name="connsiteY13" fmla="*/ 0 h 10000"/>
              <a:gd name="connsiteX14" fmla="*/ 6493 w 10012"/>
              <a:gd name="connsiteY14" fmla="*/ 111 h 10000"/>
              <a:gd name="connsiteX15" fmla="*/ 6806 w 10012"/>
              <a:gd name="connsiteY15" fmla="*/ 42 h 10000"/>
              <a:gd name="connsiteX16" fmla="*/ 7003 w 10012"/>
              <a:gd name="connsiteY16" fmla="*/ 361 h 10000"/>
              <a:gd name="connsiteX17" fmla="*/ 7476 w 10012"/>
              <a:gd name="connsiteY17" fmla="*/ 6005 h 10000"/>
              <a:gd name="connsiteX18" fmla="*/ 8179 w 10012"/>
              <a:gd name="connsiteY18" fmla="*/ 6020 h 10000"/>
              <a:gd name="connsiteX19" fmla="*/ 8378 w 10012"/>
              <a:gd name="connsiteY19" fmla="*/ 4920 h 10000"/>
              <a:gd name="connsiteX20" fmla="*/ 8509 w 10012"/>
              <a:gd name="connsiteY20" fmla="*/ 5527 h 10000"/>
              <a:gd name="connsiteX21" fmla="*/ 8594 w 10012"/>
              <a:gd name="connsiteY21" fmla="*/ 4983 h 10000"/>
              <a:gd name="connsiteX22" fmla="*/ 8659 w 10012"/>
              <a:gd name="connsiteY22" fmla="*/ 7656 h 10000"/>
              <a:gd name="connsiteX23" fmla="*/ 8726 w 10012"/>
              <a:gd name="connsiteY23" fmla="*/ 6573 h 10000"/>
              <a:gd name="connsiteX24" fmla="*/ 8822 w 10012"/>
              <a:gd name="connsiteY24" fmla="*/ 7792 h 10000"/>
              <a:gd name="connsiteX25" fmla="*/ 8875 w 10012"/>
              <a:gd name="connsiteY25" fmla="*/ 7573 h 10000"/>
              <a:gd name="connsiteX26" fmla="*/ 8901 w 10012"/>
              <a:gd name="connsiteY26" fmla="*/ 7948 h 10000"/>
              <a:gd name="connsiteX27" fmla="*/ 8998 w 10012"/>
              <a:gd name="connsiteY27" fmla="*/ 7961 h 10000"/>
              <a:gd name="connsiteX28" fmla="*/ 9004 w 10012"/>
              <a:gd name="connsiteY28" fmla="*/ 7688 h 10000"/>
              <a:gd name="connsiteX29" fmla="*/ 9117 w 10012"/>
              <a:gd name="connsiteY29" fmla="*/ 7907 h 10000"/>
              <a:gd name="connsiteX30" fmla="*/ 9180 w 10012"/>
              <a:gd name="connsiteY30" fmla="*/ 7811 h 10000"/>
              <a:gd name="connsiteX31" fmla="*/ 9205 w 10012"/>
              <a:gd name="connsiteY31" fmla="*/ 7352 h 10000"/>
              <a:gd name="connsiteX32" fmla="*/ 9240 w 10012"/>
              <a:gd name="connsiteY32" fmla="*/ 7794 h 10000"/>
              <a:gd name="connsiteX33" fmla="*/ 9319 w 10012"/>
              <a:gd name="connsiteY33" fmla="*/ 7565 h 10000"/>
              <a:gd name="connsiteX34" fmla="*/ 9433 w 10012"/>
              <a:gd name="connsiteY34" fmla="*/ 7687 h 10000"/>
              <a:gd name="connsiteX35" fmla="*/ 9493 w 10012"/>
              <a:gd name="connsiteY35" fmla="*/ 7948 h 10000"/>
              <a:gd name="connsiteX36" fmla="*/ 9527 w 10012"/>
              <a:gd name="connsiteY36" fmla="*/ 7710 h 10000"/>
              <a:gd name="connsiteX37" fmla="*/ 9586 w 10012"/>
              <a:gd name="connsiteY37" fmla="*/ 7913 h 10000"/>
              <a:gd name="connsiteX38" fmla="*/ 9627 w 10012"/>
              <a:gd name="connsiteY38" fmla="*/ 7220 h 10000"/>
              <a:gd name="connsiteX39" fmla="*/ 9733 w 10012"/>
              <a:gd name="connsiteY39" fmla="*/ 7889 h 10000"/>
              <a:gd name="connsiteX40" fmla="*/ 9846 w 10012"/>
              <a:gd name="connsiteY40" fmla="*/ 7547 h 10000"/>
              <a:gd name="connsiteX41" fmla="*/ 9848 w 10012"/>
              <a:gd name="connsiteY41" fmla="*/ 7270 h 10000"/>
              <a:gd name="connsiteX42" fmla="*/ 9934 w 10012"/>
              <a:gd name="connsiteY42" fmla="*/ 7580 h 10000"/>
              <a:gd name="connsiteX43" fmla="*/ 10012 w 10012"/>
              <a:gd name="connsiteY43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227 w 10012"/>
              <a:gd name="connsiteY4" fmla="*/ 2820 h 10000"/>
              <a:gd name="connsiteX5" fmla="*/ 3590 w 10012"/>
              <a:gd name="connsiteY5" fmla="*/ 2500 h 10000"/>
              <a:gd name="connsiteX6" fmla="*/ 3685 w 10012"/>
              <a:gd name="connsiteY6" fmla="*/ 1432 h 10000"/>
              <a:gd name="connsiteX7" fmla="*/ 3754 w 10012"/>
              <a:gd name="connsiteY7" fmla="*/ 1148 h 10000"/>
              <a:gd name="connsiteX8" fmla="*/ 4365 w 10012"/>
              <a:gd name="connsiteY8" fmla="*/ 6693 h 10000"/>
              <a:gd name="connsiteX9" fmla="*/ 4577 w 10012"/>
              <a:gd name="connsiteY9" fmla="*/ 6680 h 10000"/>
              <a:gd name="connsiteX10" fmla="*/ 5263 w 10012"/>
              <a:gd name="connsiteY10" fmla="*/ 766 h 10000"/>
              <a:gd name="connsiteX11" fmla="*/ 5262 w 10012"/>
              <a:gd name="connsiteY11" fmla="*/ 745 h 10000"/>
              <a:gd name="connsiteX12" fmla="*/ 5778 w 10012"/>
              <a:gd name="connsiteY12" fmla="*/ 1286 h 10000"/>
              <a:gd name="connsiteX13" fmla="*/ 5946 w 10012"/>
              <a:gd name="connsiteY13" fmla="*/ 0 h 10000"/>
              <a:gd name="connsiteX14" fmla="*/ 6493 w 10012"/>
              <a:gd name="connsiteY14" fmla="*/ 111 h 10000"/>
              <a:gd name="connsiteX15" fmla="*/ 6806 w 10012"/>
              <a:gd name="connsiteY15" fmla="*/ 42 h 10000"/>
              <a:gd name="connsiteX16" fmla="*/ 7003 w 10012"/>
              <a:gd name="connsiteY16" fmla="*/ 361 h 10000"/>
              <a:gd name="connsiteX17" fmla="*/ 7476 w 10012"/>
              <a:gd name="connsiteY17" fmla="*/ 6005 h 10000"/>
              <a:gd name="connsiteX18" fmla="*/ 8179 w 10012"/>
              <a:gd name="connsiteY18" fmla="*/ 6020 h 10000"/>
              <a:gd name="connsiteX19" fmla="*/ 8378 w 10012"/>
              <a:gd name="connsiteY19" fmla="*/ 4920 h 10000"/>
              <a:gd name="connsiteX20" fmla="*/ 8509 w 10012"/>
              <a:gd name="connsiteY20" fmla="*/ 5527 h 10000"/>
              <a:gd name="connsiteX21" fmla="*/ 8594 w 10012"/>
              <a:gd name="connsiteY21" fmla="*/ 4983 h 10000"/>
              <a:gd name="connsiteX22" fmla="*/ 8659 w 10012"/>
              <a:gd name="connsiteY22" fmla="*/ 7656 h 10000"/>
              <a:gd name="connsiteX23" fmla="*/ 8726 w 10012"/>
              <a:gd name="connsiteY23" fmla="*/ 6573 h 10000"/>
              <a:gd name="connsiteX24" fmla="*/ 8822 w 10012"/>
              <a:gd name="connsiteY24" fmla="*/ 7792 h 10000"/>
              <a:gd name="connsiteX25" fmla="*/ 8875 w 10012"/>
              <a:gd name="connsiteY25" fmla="*/ 7573 h 10000"/>
              <a:gd name="connsiteX26" fmla="*/ 8901 w 10012"/>
              <a:gd name="connsiteY26" fmla="*/ 7948 h 10000"/>
              <a:gd name="connsiteX27" fmla="*/ 8998 w 10012"/>
              <a:gd name="connsiteY27" fmla="*/ 7961 h 10000"/>
              <a:gd name="connsiteX28" fmla="*/ 9004 w 10012"/>
              <a:gd name="connsiteY28" fmla="*/ 7688 h 10000"/>
              <a:gd name="connsiteX29" fmla="*/ 9117 w 10012"/>
              <a:gd name="connsiteY29" fmla="*/ 7907 h 10000"/>
              <a:gd name="connsiteX30" fmla="*/ 9180 w 10012"/>
              <a:gd name="connsiteY30" fmla="*/ 7811 h 10000"/>
              <a:gd name="connsiteX31" fmla="*/ 9205 w 10012"/>
              <a:gd name="connsiteY31" fmla="*/ 7352 h 10000"/>
              <a:gd name="connsiteX32" fmla="*/ 9240 w 10012"/>
              <a:gd name="connsiteY32" fmla="*/ 7794 h 10000"/>
              <a:gd name="connsiteX33" fmla="*/ 9319 w 10012"/>
              <a:gd name="connsiteY33" fmla="*/ 7565 h 10000"/>
              <a:gd name="connsiteX34" fmla="*/ 9433 w 10012"/>
              <a:gd name="connsiteY34" fmla="*/ 7687 h 10000"/>
              <a:gd name="connsiteX35" fmla="*/ 9493 w 10012"/>
              <a:gd name="connsiteY35" fmla="*/ 7948 h 10000"/>
              <a:gd name="connsiteX36" fmla="*/ 9527 w 10012"/>
              <a:gd name="connsiteY36" fmla="*/ 7710 h 10000"/>
              <a:gd name="connsiteX37" fmla="*/ 9586 w 10012"/>
              <a:gd name="connsiteY37" fmla="*/ 7913 h 10000"/>
              <a:gd name="connsiteX38" fmla="*/ 9627 w 10012"/>
              <a:gd name="connsiteY38" fmla="*/ 7220 h 10000"/>
              <a:gd name="connsiteX39" fmla="*/ 9733 w 10012"/>
              <a:gd name="connsiteY39" fmla="*/ 7889 h 10000"/>
              <a:gd name="connsiteX40" fmla="*/ 9846 w 10012"/>
              <a:gd name="connsiteY40" fmla="*/ 7547 h 10000"/>
              <a:gd name="connsiteX41" fmla="*/ 9848 w 10012"/>
              <a:gd name="connsiteY41" fmla="*/ 7270 h 10000"/>
              <a:gd name="connsiteX42" fmla="*/ 9934 w 10012"/>
              <a:gd name="connsiteY42" fmla="*/ 7580 h 10000"/>
              <a:gd name="connsiteX43" fmla="*/ 10012 w 10012"/>
              <a:gd name="connsiteY43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227 w 10012"/>
              <a:gd name="connsiteY4" fmla="*/ 2820 h 10000"/>
              <a:gd name="connsiteX5" fmla="*/ 3590 w 10012"/>
              <a:gd name="connsiteY5" fmla="*/ 2500 h 10000"/>
              <a:gd name="connsiteX6" fmla="*/ 3685 w 10012"/>
              <a:gd name="connsiteY6" fmla="*/ 1432 h 10000"/>
              <a:gd name="connsiteX7" fmla="*/ 3754 w 10012"/>
              <a:gd name="connsiteY7" fmla="*/ 1148 h 10000"/>
              <a:gd name="connsiteX8" fmla="*/ 4365 w 10012"/>
              <a:gd name="connsiteY8" fmla="*/ 6693 h 10000"/>
              <a:gd name="connsiteX9" fmla="*/ 4577 w 10012"/>
              <a:gd name="connsiteY9" fmla="*/ 6680 h 10000"/>
              <a:gd name="connsiteX10" fmla="*/ 5263 w 10012"/>
              <a:gd name="connsiteY10" fmla="*/ 766 h 10000"/>
              <a:gd name="connsiteX11" fmla="*/ 5262 w 10012"/>
              <a:gd name="connsiteY11" fmla="*/ 745 h 10000"/>
              <a:gd name="connsiteX12" fmla="*/ 5778 w 10012"/>
              <a:gd name="connsiteY12" fmla="*/ 1286 h 10000"/>
              <a:gd name="connsiteX13" fmla="*/ 5946 w 10012"/>
              <a:gd name="connsiteY13" fmla="*/ 0 h 10000"/>
              <a:gd name="connsiteX14" fmla="*/ 6493 w 10012"/>
              <a:gd name="connsiteY14" fmla="*/ 111 h 10000"/>
              <a:gd name="connsiteX15" fmla="*/ 6806 w 10012"/>
              <a:gd name="connsiteY15" fmla="*/ 42 h 10000"/>
              <a:gd name="connsiteX16" fmla="*/ 7003 w 10012"/>
              <a:gd name="connsiteY16" fmla="*/ 361 h 10000"/>
              <a:gd name="connsiteX17" fmla="*/ 7476 w 10012"/>
              <a:gd name="connsiteY17" fmla="*/ 6005 h 10000"/>
              <a:gd name="connsiteX18" fmla="*/ 8179 w 10012"/>
              <a:gd name="connsiteY18" fmla="*/ 6020 h 10000"/>
              <a:gd name="connsiteX19" fmla="*/ 8378 w 10012"/>
              <a:gd name="connsiteY19" fmla="*/ 4920 h 10000"/>
              <a:gd name="connsiteX20" fmla="*/ 8509 w 10012"/>
              <a:gd name="connsiteY20" fmla="*/ 5527 h 10000"/>
              <a:gd name="connsiteX21" fmla="*/ 8594 w 10012"/>
              <a:gd name="connsiteY21" fmla="*/ 4983 h 10000"/>
              <a:gd name="connsiteX22" fmla="*/ 8659 w 10012"/>
              <a:gd name="connsiteY22" fmla="*/ 7656 h 10000"/>
              <a:gd name="connsiteX23" fmla="*/ 8726 w 10012"/>
              <a:gd name="connsiteY23" fmla="*/ 6573 h 10000"/>
              <a:gd name="connsiteX24" fmla="*/ 8822 w 10012"/>
              <a:gd name="connsiteY24" fmla="*/ 7792 h 10000"/>
              <a:gd name="connsiteX25" fmla="*/ 8875 w 10012"/>
              <a:gd name="connsiteY25" fmla="*/ 7573 h 10000"/>
              <a:gd name="connsiteX26" fmla="*/ 8901 w 10012"/>
              <a:gd name="connsiteY26" fmla="*/ 7948 h 10000"/>
              <a:gd name="connsiteX27" fmla="*/ 8998 w 10012"/>
              <a:gd name="connsiteY27" fmla="*/ 7961 h 10000"/>
              <a:gd name="connsiteX28" fmla="*/ 9004 w 10012"/>
              <a:gd name="connsiteY28" fmla="*/ 7688 h 10000"/>
              <a:gd name="connsiteX29" fmla="*/ 9117 w 10012"/>
              <a:gd name="connsiteY29" fmla="*/ 7907 h 10000"/>
              <a:gd name="connsiteX30" fmla="*/ 9180 w 10012"/>
              <a:gd name="connsiteY30" fmla="*/ 7811 h 10000"/>
              <a:gd name="connsiteX31" fmla="*/ 9205 w 10012"/>
              <a:gd name="connsiteY31" fmla="*/ 7352 h 10000"/>
              <a:gd name="connsiteX32" fmla="*/ 9240 w 10012"/>
              <a:gd name="connsiteY32" fmla="*/ 7794 h 10000"/>
              <a:gd name="connsiteX33" fmla="*/ 9319 w 10012"/>
              <a:gd name="connsiteY33" fmla="*/ 7565 h 10000"/>
              <a:gd name="connsiteX34" fmla="*/ 9433 w 10012"/>
              <a:gd name="connsiteY34" fmla="*/ 7687 h 10000"/>
              <a:gd name="connsiteX35" fmla="*/ 9493 w 10012"/>
              <a:gd name="connsiteY35" fmla="*/ 7948 h 10000"/>
              <a:gd name="connsiteX36" fmla="*/ 9527 w 10012"/>
              <a:gd name="connsiteY36" fmla="*/ 7710 h 10000"/>
              <a:gd name="connsiteX37" fmla="*/ 9586 w 10012"/>
              <a:gd name="connsiteY37" fmla="*/ 7913 h 10000"/>
              <a:gd name="connsiteX38" fmla="*/ 9627 w 10012"/>
              <a:gd name="connsiteY38" fmla="*/ 7220 h 10000"/>
              <a:gd name="connsiteX39" fmla="*/ 9733 w 10012"/>
              <a:gd name="connsiteY39" fmla="*/ 7889 h 10000"/>
              <a:gd name="connsiteX40" fmla="*/ 9846 w 10012"/>
              <a:gd name="connsiteY40" fmla="*/ 7547 h 10000"/>
              <a:gd name="connsiteX41" fmla="*/ 9848 w 10012"/>
              <a:gd name="connsiteY41" fmla="*/ 7270 h 10000"/>
              <a:gd name="connsiteX42" fmla="*/ 9934 w 10012"/>
              <a:gd name="connsiteY42" fmla="*/ 7580 h 10000"/>
              <a:gd name="connsiteX43" fmla="*/ 10012 w 10012"/>
              <a:gd name="connsiteY43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590 w 10012"/>
              <a:gd name="connsiteY4" fmla="*/ 2500 h 10000"/>
              <a:gd name="connsiteX5" fmla="*/ 3685 w 10012"/>
              <a:gd name="connsiteY5" fmla="*/ 1432 h 10000"/>
              <a:gd name="connsiteX6" fmla="*/ 3754 w 10012"/>
              <a:gd name="connsiteY6" fmla="*/ 1148 h 10000"/>
              <a:gd name="connsiteX7" fmla="*/ 4365 w 10012"/>
              <a:gd name="connsiteY7" fmla="*/ 6693 h 10000"/>
              <a:gd name="connsiteX8" fmla="*/ 4577 w 10012"/>
              <a:gd name="connsiteY8" fmla="*/ 6680 h 10000"/>
              <a:gd name="connsiteX9" fmla="*/ 5263 w 10012"/>
              <a:gd name="connsiteY9" fmla="*/ 766 h 10000"/>
              <a:gd name="connsiteX10" fmla="*/ 5262 w 10012"/>
              <a:gd name="connsiteY10" fmla="*/ 745 h 10000"/>
              <a:gd name="connsiteX11" fmla="*/ 5778 w 10012"/>
              <a:gd name="connsiteY11" fmla="*/ 1286 h 10000"/>
              <a:gd name="connsiteX12" fmla="*/ 5946 w 10012"/>
              <a:gd name="connsiteY12" fmla="*/ 0 h 10000"/>
              <a:gd name="connsiteX13" fmla="*/ 6493 w 10012"/>
              <a:gd name="connsiteY13" fmla="*/ 111 h 10000"/>
              <a:gd name="connsiteX14" fmla="*/ 6806 w 10012"/>
              <a:gd name="connsiteY14" fmla="*/ 42 h 10000"/>
              <a:gd name="connsiteX15" fmla="*/ 7003 w 10012"/>
              <a:gd name="connsiteY15" fmla="*/ 361 h 10000"/>
              <a:gd name="connsiteX16" fmla="*/ 7476 w 10012"/>
              <a:gd name="connsiteY16" fmla="*/ 6005 h 10000"/>
              <a:gd name="connsiteX17" fmla="*/ 8179 w 10012"/>
              <a:gd name="connsiteY17" fmla="*/ 6020 h 10000"/>
              <a:gd name="connsiteX18" fmla="*/ 8378 w 10012"/>
              <a:gd name="connsiteY18" fmla="*/ 4920 h 10000"/>
              <a:gd name="connsiteX19" fmla="*/ 8509 w 10012"/>
              <a:gd name="connsiteY19" fmla="*/ 5527 h 10000"/>
              <a:gd name="connsiteX20" fmla="*/ 8594 w 10012"/>
              <a:gd name="connsiteY20" fmla="*/ 4983 h 10000"/>
              <a:gd name="connsiteX21" fmla="*/ 8659 w 10012"/>
              <a:gd name="connsiteY21" fmla="*/ 7656 h 10000"/>
              <a:gd name="connsiteX22" fmla="*/ 8726 w 10012"/>
              <a:gd name="connsiteY22" fmla="*/ 6573 h 10000"/>
              <a:gd name="connsiteX23" fmla="*/ 8822 w 10012"/>
              <a:gd name="connsiteY23" fmla="*/ 7792 h 10000"/>
              <a:gd name="connsiteX24" fmla="*/ 8875 w 10012"/>
              <a:gd name="connsiteY24" fmla="*/ 7573 h 10000"/>
              <a:gd name="connsiteX25" fmla="*/ 8901 w 10012"/>
              <a:gd name="connsiteY25" fmla="*/ 7948 h 10000"/>
              <a:gd name="connsiteX26" fmla="*/ 8998 w 10012"/>
              <a:gd name="connsiteY26" fmla="*/ 7961 h 10000"/>
              <a:gd name="connsiteX27" fmla="*/ 9004 w 10012"/>
              <a:gd name="connsiteY27" fmla="*/ 7688 h 10000"/>
              <a:gd name="connsiteX28" fmla="*/ 9117 w 10012"/>
              <a:gd name="connsiteY28" fmla="*/ 7907 h 10000"/>
              <a:gd name="connsiteX29" fmla="*/ 9180 w 10012"/>
              <a:gd name="connsiteY29" fmla="*/ 7811 h 10000"/>
              <a:gd name="connsiteX30" fmla="*/ 9205 w 10012"/>
              <a:gd name="connsiteY30" fmla="*/ 7352 h 10000"/>
              <a:gd name="connsiteX31" fmla="*/ 9240 w 10012"/>
              <a:gd name="connsiteY31" fmla="*/ 7794 h 10000"/>
              <a:gd name="connsiteX32" fmla="*/ 9319 w 10012"/>
              <a:gd name="connsiteY32" fmla="*/ 7565 h 10000"/>
              <a:gd name="connsiteX33" fmla="*/ 9433 w 10012"/>
              <a:gd name="connsiteY33" fmla="*/ 7687 h 10000"/>
              <a:gd name="connsiteX34" fmla="*/ 9493 w 10012"/>
              <a:gd name="connsiteY34" fmla="*/ 7948 h 10000"/>
              <a:gd name="connsiteX35" fmla="*/ 9527 w 10012"/>
              <a:gd name="connsiteY35" fmla="*/ 7710 h 10000"/>
              <a:gd name="connsiteX36" fmla="*/ 9586 w 10012"/>
              <a:gd name="connsiteY36" fmla="*/ 7913 h 10000"/>
              <a:gd name="connsiteX37" fmla="*/ 9627 w 10012"/>
              <a:gd name="connsiteY37" fmla="*/ 7220 h 10000"/>
              <a:gd name="connsiteX38" fmla="*/ 9733 w 10012"/>
              <a:gd name="connsiteY38" fmla="*/ 7889 h 10000"/>
              <a:gd name="connsiteX39" fmla="*/ 9846 w 10012"/>
              <a:gd name="connsiteY39" fmla="*/ 7547 h 10000"/>
              <a:gd name="connsiteX40" fmla="*/ 9848 w 10012"/>
              <a:gd name="connsiteY40" fmla="*/ 7270 h 10000"/>
              <a:gd name="connsiteX41" fmla="*/ 9934 w 10012"/>
              <a:gd name="connsiteY41" fmla="*/ 7580 h 10000"/>
              <a:gd name="connsiteX42" fmla="*/ 10012 w 10012"/>
              <a:gd name="connsiteY42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685 w 10012"/>
              <a:gd name="connsiteY4" fmla="*/ 1432 h 10000"/>
              <a:gd name="connsiteX5" fmla="*/ 3754 w 10012"/>
              <a:gd name="connsiteY5" fmla="*/ 1148 h 10000"/>
              <a:gd name="connsiteX6" fmla="*/ 4365 w 10012"/>
              <a:gd name="connsiteY6" fmla="*/ 6693 h 10000"/>
              <a:gd name="connsiteX7" fmla="*/ 4577 w 10012"/>
              <a:gd name="connsiteY7" fmla="*/ 6680 h 10000"/>
              <a:gd name="connsiteX8" fmla="*/ 5263 w 10012"/>
              <a:gd name="connsiteY8" fmla="*/ 766 h 10000"/>
              <a:gd name="connsiteX9" fmla="*/ 5262 w 10012"/>
              <a:gd name="connsiteY9" fmla="*/ 745 h 10000"/>
              <a:gd name="connsiteX10" fmla="*/ 5778 w 10012"/>
              <a:gd name="connsiteY10" fmla="*/ 1286 h 10000"/>
              <a:gd name="connsiteX11" fmla="*/ 5946 w 10012"/>
              <a:gd name="connsiteY11" fmla="*/ 0 h 10000"/>
              <a:gd name="connsiteX12" fmla="*/ 6493 w 10012"/>
              <a:gd name="connsiteY12" fmla="*/ 111 h 10000"/>
              <a:gd name="connsiteX13" fmla="*/ 6806 w 10012"/>
              <a:gd name="connsiteY13" fmla="*/ 42 h 10000"/>
              <a:gd name="connsiteX14" fmla="*/ 7003 w 10012"/>
              <a:gd name="connsiteY14" fmla="*/ 361 h 10000"/>
              <a:gd name="connsiteX15" fmla="*/ 7476 w 10012"/>
              <a:gd name="connsiteY15" fmla="*/ 6005 h 10000"/>
              <a:gd name="connsiteX16" fmla="*/ 8179 w 10012"/>
              <a:gd name="connsiteY16" fmla="*/ 6020 h 10000"/>
              <a:gd name="connsiteX17" fmla="*/ 8378 w 10012"/>
              <a:gd name="connsiteY17" fmla="*/ 4920 h 10000"/>
              <a:gd name="connsiteX18" fmla="*/ 8509 w 10012"/>
              <a:gd name="connsiteY18" fmla="*/ 5527 h 10000"/>
              <a:gd name="connsiteX19" fmla="*/ 8594 w 10012"/>
              <a:gd name="connsiteY19" fmla="*/ 4983 h 10000"/>
              <a:gd name="connsiteX20" fmla="*/ 8659 w 10012"/>
              <a:gd name="connsiteY20" fmla="*/ 7656 h 10000"/>
              <a:gd name="connsiteX21" fmla="*/ 8726 w 10012"/>
              <a:gd name="connsiteY21" fmla="*/ 6573 h 10000"/>
              <a:gd name="connsiteX22" fmla="*/ 8822 w 10012"/>
              <a:gd name="connsiteY22" fmla="*/ 7792 h 10000"/>
              <a:gd name="connsiteX23" fmla="*/ 8875 w 10012"/>
              <a:gd name="connsiteY23" fmla="*/ 7573 h 10000"/>
              <a:gd name="connsiteX24" fmla="*/ 8901 w 10012"/>
              <a:gd name="connsiteY24" fmla="*/ 7948 h 10000"/>
              <a:gd name="connsiteX25" fmla="*/ 8998 w 10012"/>
              <a:gd name="connsiteY25" fmla="*/ 7961 h 10000"/>
              <a:gd name="connsiteX26" fmla="*/ 9004 w 10012"/>
              <a:gd name="connsiteY26" fmla="*/ 7688 h 10000"/>
              <a:gd name="connsiteX27" fmla="*/ 9117 w 10012"/>
              <a:gd name="connsiteY27" fmla="*/ 7907 h 10000"/>
              <a:gd name="connsiteX28" fmla="*/ 9180 w 10012"/>
              <a:gd name="connsiteY28" fmla="*/ 7811 h 10000"/>
              <a:gd name="connsiteX29" fmla="*/ 9205 w 10012"/>
              <a:gd name="connsiteY29" fmla="*/ 7352 h 10000"/>
              <a:gd name="connsiteX30" fmla="*/ 9240 w 10012"/>
              <a:gd name="connsiteY30" fmla="*/ 7794 h 10000"/>
              <a:gd name="connsiteX31" fmla="*/ 9319 w 10012"/>
              <a:gd name="connsiteY31" fmla="*/ 7565 h 10000"/>
              <a:gd name="connsiteX32" fmla="*/ 9433 w 10012"/>
              <a:gd name="connsiteY32" fmla="*/ 7687 h 10000"/>
              <a:gd name="connsiteX33" fmla="*/ 9493 w 10012"/>
              <a:gd name="connsiteY33" fmla="*/ 7948 h 10000"/>
              <a:gd name="connsiteX34" fmla="*/ 9527 w 10012"/>
              <a:gd name="connsiteY34" fmla="*/ 7710 h 10000"/>
              <a:gd name="connsiteX35" fmla="*/ 9586 w 10012"/>
              <a:gd name="connsiteY35" fmla="*/ 7913 h 10000"/>
              <a:gd name="connsiteX36" fmla="*/ 9627 w 10012"/>
              <a:gd name="connsiteY36" fmla="*/ 7220 h 10000"/>
              <a:gd name="connsiteX37" fmla="*/ 9733 w 10012"/>
              <a:gd name="connsiteY37" fmla="*/ 7889 h 10000"/>
              <a:gd name="connsiteX38" fmla="*/ 9846 w 10012"/>
              <a:gd name="connsiteY38" fmla="*/ 7547 h 10000"/>
              <a:gd name="connsiteX39" fmla="*/ 9848 w 10012"/>
              <a:gd name="connsiteY39" fmla="*/ 7270 h 10000"/>
              <a:gd name="connsiteX40" fmla="*/ 9934 w 10012"/>
              <a:gd name="connsiteY40" fmla="*/ 7580 h 10000"/>
              <a:gd name="connsiteX41" fmla="*/ 10012 w 10012"/>
              <a:gd name="connsiteY41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754 w 10012"/>
              <a:gd name="connsiteY4" fmla="*/ 1148 h 10000"/>
              <a:gd name="connsiteX5" fmla="*/ 4365 w 10012"/>
              <a:gd name="connsiteY5" fmla="*/ 6693 h 10000"/>
              <a:gd name="connsiteX6" fmla="*/ 4577 w 10012"/>
              <a:gd name="connsiteY6" fmla="*/ 6680 h 10000"/>
              <a:gd name="connsiteX7" fmla="*/ 5263 w 10012"/>
              <a:gd name="connsiteY7" fmla="*/ 766 h 10000"/>
              <a:gd name="connsiteX8" fmla="*/ 5262 w 10012"/>
              <a:gd name="connsiteY8" fmla="*/ 745 h 10000"/>
              <a:gd name="connsiteX9" fmla="*/ 5778 w 10012"/>
              <a:gd name="connsiteY9" fmla="*/ 1286 h 10000"/>
              <a:gd name="connsiteX10" fmla="*/ 5946 w 10012"/>
              <a:gd name="connsiteY10" fmla="*/ 0 h 10000"/>
              <a:gd name="connsiteX11" fmla="*/ 6493 w 10012"/>
              <a:gd name="connsiteY11" fmla="*/ 111 h 10000"/>
              <a:gd name="connsiteX12" fmla="*/ 6806 w 10012"/>
              <a:gd name="connsiteY12" fmla="*/ 42 h 10000"/>
              <a:gd name="connsiteX13" fmla="*/ 7003 w 10012"/>
              <a:gd name="connsiteY13" fmla="*/ 361 h 10000"/>
              <a:gd name="connsiteX14" fmla="*/ 7476 w 10012"/>
              <a:gd name="connsiteY14" fmla="*/ 6005 h 10000"/>
              <a:gd name="connsiteX15" fmla="*/ 8179 w 10012"/>
              <a:gd name="connsiteY15" fmla="*/ 6020 h 10000"/>
              <a:gd name="connsiteX16" fmla="*/ 8378 w 10012"/>
              <a:gd name="connsiteY16" fmla="*/ 4920 h 10000"/>
              <a:gd name="connsiteX17" fmla="*/ 8509 w 10012"/>
              <a:gd name="connsiteY17" fmla="*/ 5527 h 10000"/>
              <a:gd name="connsiteX18" fmla="*/ 8594 w 10012"/>
              <a:gd name="connsiteY18" fmla="*/ 4983 h 10000"/>
              <a:gd name="connsiteX19" fmla="*/ 8659 w 10012"/>
              <a:gd name="connsiteY19" fmla="*/ 7656 h 10000"/>
              <a:gd name="connsiteX20" fmla="*/ 8726 w 10012"/>
              <a:gd name="connsiteY20" fmla="*/ 6573 h 10000"/>
              <a:gd name="connsiteX21" fmla="*/ 8822 w 10012"/>
              <a:gd name="connsiteY21" fmla="*/ 7792 h 10000"/>
              <a:gd name="connsiteX22" fmla="*/ 8875 w 10012"/>
              <a:gd name="connsiteY22" fmla="*/ 7573 h 10000"/>
              <a:gd name="connsiteX23" fmla="*/ 8901 w 10012"/>
              <a:gd name="connsiteY23" fmla="*/ 7948 h 10000"/>
              <a:gd name="connsiteX24" fmla="*/ 8998 w 10012"/>
              <a:gd name="connsiteY24" fmla="*/ 7961 h 10000"/>
              <a:gd name="connsiteX25" fmla="*/ 9004 w 10012"/>
              <a:gd name="connsiteY25" fmla="*/ 7688 h 10000"/>
              <a:gd name="connsiteX26" fmla="*/ 9117 w 10012"/>
              <a:gd name="connsiteY26" fmla="*/ 7907 h 10000"/>
              <a:gd name="connsiteX27" fmla="*/ 9180 w 10012"/>
              <a:gd name="connsiteY27" fmla="*/ 7811 h 10000"/>
              <a:gd name="connsiteX28" fmla="*/ 9205 w 10012"/>
              <a:gd name="connsiteY28" fmla="*/ 7352 h 10000"/>
              <a:gd name="connsiteX29" fmla="*/ 9240 w 10012"/>
              <a:gd name="connsiteY29" fmla="*/ 7794 h 10000"/>
              <a:gd name="connsiteX30" fmla="*/ 9319 w 10012"/>
              <a:gd name="connsiteY30" fmla="*/ 7565 h 10000"/>
              <a:gd name="connsiteX31" fmla="*/ 9433 w 10012"/>
              <a:gd name="connsiteY31" fmla="*/ 7687 h 10000"/>
              <a:gd name="connsiteX32" fmla="*/ 9493 w 10012"/>
              <a:gd name="connsiteY32" fmla="*/ 7948 h 10000"/>
              <a:gd name="connsiteX33" fmla="*/ 9527 w 10012"/>
              <a:gd name="connsiteY33" fmla="*/ 7710 h 10000"/>
              <a:gd name="connsiteX34" fmla="*/ 9586 w 10012"/>
              <a:gd name="connsiteY34" fmla="*/ 7913 h 10000"/>
              <a:gd name="connsiteX35" fmla="*/ 9627 w 10012"/>
              <a:gd name="connsiteY35" fmla="*/ 7220 h 10000"/>
              <a:gd name="connsiteX36" fmla="*/ 9733 w 10012"/>
              <a:gd name="connsiteY36" fmla="*/ 7889 h 10000"/>
              <a:gd name="connsiteX37" fmla="*/ 9846 w 10012"/>
              <a:gd name="connsiteY37" fmla="*/ 7547 h 10000"/>
              <a:gd name="connsiteX38" fmla="*/ 9848 w 10012"/>
              <a:gd name="connsiteY38" fmla="*/ 7270 h 10000"/>
              <a:gd name="connsiteX39" fmla="*/ 9934 w 10012"/>
              <a:gd name="connsiteY39" fmla="*/ 7580 h 10000"/>
              <a:gd name="connsiteX40" fmla="*/ 10012 w 10012"/>
              <a:gd name="connsiteY40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889 w 10012"/>
              <a:gd name="connsiteY4" fmla="*/ 2331 h 10000"/>
              <a:gd name="connsiteX5" fmla="*/ 4365 w 10012"/>
              <a:gd name="connsiteY5" fmla="*/ 6693 h 10000"/>
              <a:gd name="connsiteX6" fmla="*/ 4577 w 10012"/>
              <a:gd name="connsiteY6" fmla="*/ 6680 h 10000"/>
              <a:gd name="connsiteX7" fmla="*/ 5263 w 10012"/>
              <a:gd name="connsiteY7" fmla="*/ 766 h 10000"/>
              <a:gd name="connsiteX8" fmla="*/ 5262 w 10012"/>
              <a:gd name="connsiteY8" fmla="*/ 745 h 10000"/>
              <a:gd name="connsiteX9" fmla="*/ 5778 w 10012"/>
              <a:gd name="connsiteY9" fmla="*/ 1286 h 10000"/>
              <a:gd name="connsiteX10" fmla="*/ 5946 w 10012"/>
              <a:gd name="connsiteY10" fmla="*/ 0 h 10000"/>
              <a:gd name="connsiteX11" fmla="*/ 6493 w 10012"/>
              <a:gd name="connsiteY11" fmla="*/ 111 h 10000"/>
              <a:gd name="connsiteX12" fmla="*/ 6806 w 10012"/>
              <a:gd name="connsiteY12" fmla="*/ 42 h 10000"/>
              <a:gd name="connsiteX13" fmla="*/ 7003 w 10012"/>
              <a:gd name="connsiteY13" fmla="*/ 361 h 10000"/>
              <a:gd name="connsiteX14" fmla="*/ 7476 w 10012"/>
              <a:gd name="connsiteY14" fmla="*/ 6005 h 10000"/>
              <a:gd name="connsiteX15" fmla="*/ 8179 w 10012"/>
              <a:gd name="connsiteY15" fmla="*/ 6020 h 10000"/>
              <a:gd name="connsiteX16" fmla="*/ 8378 w 10012"/>
              <a:gd name="connsiteY16" fmla="*/ 4920 h 10000"/>
              <a:gd name="connsiteX17" fmla="*/ 8509 w 10012"/>
              <a:gd name="connsiteY17" fmla="*/ 5527 h 10000"/>
              <a:gd name="connsiteX18" fmla="*/ 8594 w 10012"/>
              <a:gd name="connsiteY18" fmla="*/ 4983 h 10000"/>
              <a:gd name="connsiteX19" fmla="*/ 8659 w 10012"/>
              <a:gd name="connsiteY19" fmla="*/ 7656 h 10000"/>
              <a:gd name="connsiteX20" fmla="*/ 8726 w 10012"/>
              <a:gd name="connsiteY20" fmla="*/ 6573 h 10000"/>
              <a:gd name="connsiteX21" fmla="*/ 8822 w 10012"/>
              <a:gd name="connsiteY21" fmla="*/ 7792 h 10000"/>
              <a:gd name="connsiteX22" fmla="*/ 8875 w 10012"/>
              <a:gd name="connsiteY22" fmla="*/ 7573 h 10000"/>
              <a:gd name="connsiteX23" fmla="*/ 8901 w 10012"/>
              <a:gd name="connsiteY23" fmla="*/ 7948 h 10000"/>
              <a:gd name="connsiteX24" fmla="*/ 8998 w 10012"/>
              <a:gd name="connsiteY24" fmla="*/ 7961 h 10000"/>
              <a:gd name="connsiteX25" fmla="*/ 9004 w 10012"/>
              <a:gd name="connsiteY25" fmla="*/ 7688 h 10000"/>
              <a:gd name="connsiteX26" fmla="*/ 9117 w 10012"/>
              <a:gd name="connsiteY26" fmla="*/ 7907 h 10000"/>
              <a:gd name="connsiteX27" fmla="*/ 9180 w 10012"/>
              <a:gd name="connsiteY27" fmla="*/ 7811 h 10000"/>
              <a:gd name="connsiteX28" fmla="*/ 9205 w 10012"/>
              <a:gd name="connsiteY28" fmla="*/ 7352 h 10000"/>
              <a:gd name="connsiteX29" fmla="*/ 9240 w 10012"/>
              <a:gd name="connsiteY29" fmla="*/ 7794 h 10000"/>
              <a:gd name="connsiteX30" fmla="*/ 9319 w 10012"/>
              <a:gd name="connsiteY30" fmla="*/ 7565 h 10000"/>
              <a:gd name="connsiteX31" fmla="*/ 9433 w 10012"/>
              <a:gd name="connsiteY31" fmla="*/ 7687 h 10000"/>
              <a:gd name="connsiteX32" fmla="*/ 9493 w 10012"/>
              <a:gd name="connsiteY32" fmla="*/ 7948 h 10000"/>
              <a:gd name="connsiteX33" fmla="*/ 9527 w 10012"/>
              <a:gd name="connsiteY33" fmla="*/ 7710 h 10000"/>
              <a:gd name="connsiteX34" fmla="*/ 9586 w 10012"/>
              <a:gd name="connsiteY34" fmla="*/ 7913 h 10000"/>
              <a:gd name="connsiteX35" fmla="*/ 9627 w 10012"/>
              <a:gd name="connsiteY35" fmla="*/ 7220 h 10000"/>
              <a:gd name="connsiteX36" fmla="*/ 9733 w 10012"/>
              <a:gd name="connsiteY36" fmla="*/ 7889 h 10000"/>
              <a:gd name="connsiteX37" fmla="*/ 9846 w 10012"/>
              <a:gd name="connsiteY37" fmla="*/ 7547 h 10000"/>
              <a:gd name="connsiteX38" fmla="*/ 9848 w 10012"/>
              <a:gd name="connsiteY38" fmla="*/ 7270 h 10000"/>
              <a:gd name="connsiteX39" fmla="*/ 9934 w 10012"/>
              <a:gd name="connsiteY39" fmla="*/ 7580 h 10000"/>
              <a:gd name="connsiteX40" fmla="*/ 10012 w 10012"/>
              <a:gd name="connsiteY40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857 w 10012"/>
              <a:gd name="connsiteY4" fmla="*/ 2074 h 10000"/>
              <a:gd name="connsiteX5" fmla="*/ 4365 w 10012"/>
              <a:gd name="connsiteY5" fmla="*/ 6693 h 10000"/>
              <a:gd name="connsiteX6" fmla="*/ 4577 w 10012"/>
              <a:gd name="connsiteY6" fmla="*/ 6680 h 10000"/>
              <a:gd name="connsiteX7" fmla="*/ 5263 w 10012"/>
              <a:gd name="connsiteY7" fmla="*/ 766 h 10000"/>
              <a:gd name="connsiteX8" fmla="*/ 5262 w 10012"/>
              <a:gd name="connsiteY8" fmla="*/ 745 h 10000"/>
              <a:gd name="connsiteX9" fmla="*/ 5778 w 10012"/>
              <a:gd name="connsiteY9" fmla="*/ 1286 h 10000"/>
              <a:gd name="connsiteX10" fmla="*/ 5946 w 10012"/>
              <a:gd name="connsiteY10" fmla="*/ 0 h 10000"/>
              <a:gd name="connsiteX11" fmla="*/ 6493 w 10012"/>
              <a:gd name="connsiteY11" fmla="*/ 111 h 10000"/>
              <a:gd name="connsiteX12" fmla="*/ 6806 w 10012"/>
              <a:gd name="connsiteY12" fmla="*/ 42 h 10000"/>
              <a:gd name="connsiteX13" fmla="*/ 7003 w 10012"/>
              <a:gd name="connsiteY13" fmla="*/ 361 h 10000"/>
              <a:gd name="connsiteX14" fmla="*/ 7476 w 10012"/>
              <a:gd name="connsiteY14" fmla="*/ 6005 h 10000"/>
              <a:gd name="connsiteX15" fmla="*/ 8179 w 10012"/>
              <a:gd name="connsiteY15" fmla="*/ 6020 h 10000"/>
              <a:gd name="connsiteX16" fmla="*/ 8378 w 10012"/>
              <a:gd name="connsiteY16" fmla="*/ 4920 h 10000"/>
              <a:gd name="connsiteX17" fmla="*/ 8509 w 10012"/>
              <a:gd name="connsiteY17" fmla="*/ 5527 h 10000"/>
              <a:gd name="connsiteX18" fmla="*/ 8594 w 10012"/>
              <a:gd name="connsiteY18" fmla="*/ 4983 h 10000"/>
              <a:gd name="connsiteX19" fmla="*/ 8659 w 10012"/>
              <a:gd name="connsiteY19" fmla="*/ 7656 h 10000"/>
              <a:gd name="connsiteX20" fmla="*/ 8726 w 10012"/>
              <a:gd name="connsiteY20" fmla="*/ 6573 h 10000"/>
              <a:gd name="connsiteX21" fmla="*/ 8822 w 10012"/>
              <a:gd name="connsiteY21" fmla="*/ 7792 h 10000"/>
              <a:gd name="connsiteX22" fmla="*/ 8875 w 10012"/>
              <a:gd name="connsiteY22" fmla="*/ 7573 h 10000"/>
              <a:gd name="connsiteX23" fmla="*/ 8901 w 10012"/>
              <a:gd name="connsiteY23" fmla="*/ 7948 h 10000"/>
              <a:gd name="connsiteX24" fmla="*/ 8998 w 10012"/>
              <a:gd name="connsiteY24" fmla="*/ 7961 h 10000"/>
              <a:gd name="connsiteX25" fmla="*/ 9004 w 10012"/>
              <a:gd name="connsiteY25" fmla="*/ 7688 h 10000"/>
              <a:gd name="connsiteX26" fmla="*/ 9117 w 10012"/>
              <a:gd name="connsiteY26" fmla="*/ 7907 h 10000"/>
              <a:gd name="connsiteX27" fmla="*/ 9180 w 10012"/>
              <a:gd name="connsiteY27" fmla="*/ 7811 h 10000"/>
              <a:gd name="connsiteX28" fmla="*/ 9205 w 10012"/>
              <a:gd name="connsiteY28" fmla="*/ 7352 h 10000"/>
              <a:gd name="connsiteX29" fmla="*/ 9240 w 10012"/>
              <a:gd name="connsiteY29" fmla="*/ 7794 h 10000"/>
              <a:gd name="connsiteX30" fmla="*/ 9319 w 10012"/>
              <a:gd name="connsiteY30" fmla="*/ 7565 h 10000"/>
              <a:gd name="connsiteX31" fmla="*/ 9433 w 10012"/>
              <a:gd name="connsiteY31" fmla="*/ 7687 h 10000"/>
              <a:gd name="connsiteX32" fmla="*/ 9493 w 10012"/>
              <a:gd name="connsiteY32" fmla="*/ 7948 h 10000"/>
              <a:gd name="connsiteX33" fmla="*/ 9527 w 10012"/>
              <a:gd name="connsiteY33" fmla="*/ 7710 h 10000"/>
              <a:gd name="connsiteX34" fmla="*/ 9586 w 10012"/>
              <a:gd name="connsiteY34" fmla="*/ 7913 h 10000"/>
              <a:gd name="connsiteX35" fmla="*/ 9627 w 10012"/>
              <a:gd name="connsiteY35" fmla="*/ 7220 h 10000"/>
              <a:gd name="connsiteX36" fmla="*/ 9733 w 10012"/>
              <a:gd name="connsiteY36" fmla="*/ 7889 h 10000"/>
              <a:gd name="connsiteX37" fmla="*/ 9846 w 10012"/>
              <a:gd name="connsiteY37" fmla="*/ 7547 h 10000"/>
              <a:gd name="connsiteX38" fmla="*/ 9848 w 10012"/>
              <a:gd name="connsiteY38" fmla="*/ 7270 h 10000"/>
              <a:gd name="connsiteX39" fmla="*/ 9934 w 10012"/>
              <a:gd name="connsiteY39" fmla="*/ 7580 h 10000"/>
              <a:gd name="connsiteX40" fmla="*/ 10012 w 10012"/>
              <a:gd name="connsiteY40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857 w 10012"/>
              <a:gd name="connsiteY4" fmla="*/ 2074 h 10000"/>
              <a:gd name="connsiteX5" fmla="*/ 4365 w 10012"/>
              <a:gd name="connsiteY5" fmla="*/ 6693 h 10000"/>
              <a:gd name="connsiteX6" fmla="*/ 4577 w 10012"/>
              <a:gd name="connsiteY6" fmla="*/ 6680 h 10000"/>
              <a:gd name="connsiteX7" fmla="*/ 5263 w 10012"/>
              <a:gd name="connsiteY7" fmla="*/ 766 h 10000"/>
              <a:gd name="connsiteX8" fmla="*/ 5262 w 10012"/>
              <a:gd name="connsiteY8" fmla="*/ 745 h 10000"/>
              <a:gd name="connsiteX9" fmla="*/ 5778 w 10012"/>
              <a:gd name="connsiteY9" fmla="*/ 1286 h 10000"/>
              <a:gd name="connsiteX10" fmla="*/ 5946 w 10012"/>
              <a:gd name="connsiteY10" fmla="*/ 0 h 10000"/>
              <a:gd name="connsiteX11" fmla="*/ 6493 w 10012"/>
              <a:gd name="connsiteY11" fmla="*/ 111 h 10000"/>
              <a:gd name="connsiteX12" fmla="*/ 6806 w 10012"/>
              <a:gd name="connsiteY12" fmla="*/ 42 h 10000"/>
              <a:gd name="connsiteX13" fmla="*/ 7003 w 10012"/>
              <a:gd name="connsiteY13" fmla="*/ 361 h 10000"/>
              <a:gd name="connsiteX14" fmla="*/ 7476 w 10012"/>
              <a:gd name="connsiteY14" fmla="*/ 6005 h 10000"/>
              <a:gd name="connsiteX15" fmla="*/ 8179 w 10012"/>
              <a:gd name="connsiteY15" fmla="*/ 6020 h 10000"/>
              <a:gd name="connsiteX16" fmla="*/ 8378 w 10012"/>
              <a:gd name="connsiteY16" fmla="*/ 4920 h 10000"/>
              <a:gd name="connsiteX17" fmla="*/ 8509 w 10012"/>
              <a:gd name="connsiteY17" fmla="*/ 5527 h 10000"/>
              <a:gd name="connsiteX18" fmla="*/ 8594 w 10012"/>
              <a:gd name="connsiteY18" fmla="*/ 4983 h 10000"/>
              <a:gd name="connsiteX19" fmla="*/ 8659 w 10012"/>
              <a:gd name="connsiteY19" fmla="*/ 7656 h 10000"/>
              <a:gd name="connsiteX20" fmla="*/ 8726 w 10012"/>
              <a:gd name="connsiteY20" fmla="*/ 6573 h 10000"/>
              <a:gd name="connsiteX21" fmla="*/ 8822 w 10012"/>
              <a:gd name="connsiteY21" fmla="*/ 7792 h 10000"/>
              <a:gd name="connsiteX22" fmla="*/ 8875 w 10012"/>
              <a:gd name="connsiteY22" fmla="*/ 7573 h 10000"/>
              <a:gd name="connsiteX23" fmla="*/ 8901 w 10012"/>
              <a:gd name="connsiteY23" fmla="*/ 7948 h 10000"/>
              <a:gd name="connsiteX24" fmla="*/ 8998 w 10012"/>
              <a:gd name="connsiteY24" fmla="*/ 7961 h 10000"/>
              <a:gd name="connsiteX25" fmla="*/ 9004 w 10012"/>
              <a:gd name="connsiteY25" fmla="*/ 7688 h 10000"/>
              <a:gd name="connsiteX26" fmla="*/ 9117 w 10012"/>
              <a:gd name="connsiteY26" fmla="*/ 7907 h 10000"/>
              <a:gd name="connsiteX27" fmla="*/ 9180 w 10012"/>
              <a:gd name="connsiteY27" fmla="*/ 7811 h 10000"/>
              <a:gd name="connsiteX28" fmla="*/ 9205 w 10012"/>
              <a:gd name="connsiteY28" fmla="*/ 7352 h 10000"/>
              <a:gd name="connsiteX29" fmla="*/ 9240 w 10012"/>
              <a:gd name="connsiteY29" fmla="*/ 7794 h 10000"/>
              <a:gd name="connsiteX30" fmla="*/ 9319 w 10012"/>
              <a:gd name="connsiteY30" fmla="*/ 7565 h 10000"/>
              <a:gd name="connsiteX31" fmla="*/ 9433 w 10012"/>
              <a:gd name="connsiteY31" fmla="*/ 7687 h 10000"/>
              <a:gd name="connsiteX32" fmla="*/ 9493 w 10012"/>
              <a:gd name="connsiteY32" fmla="*/ 7948 h 10000"/>
              <a:gd name="connsiteX33" fmla="*/ 9527 w 10012"/>
              <a:gd name="connsiteY33" fmla="*/ 7710 h 10000"/>
              <a:gd name="connsiteX34" fmla="*/ 9586 w 10012"/>
              <a:gd name="connsiteY34" fmla="*/ 7913 h 10000"/>
              <a:gd name="connsiteX35" fmla="*/ 9627 w 10012"/>
              <a:gd name="connsiteY35" fmla="*/ 7220 h 10000"/>
              <a:gd name="connsiteX36" fmla="*/ 9733 w 10012"/>
              <a:gd name="connsiteY36" fmla="*/ 7889 h 10000"/>
              <a:gd name="connsiteX37" fmla="*/ 9846 w 10012"/>
              <a:gd name="connsiteY37" fmla="*/ 7547 h 10000"/>
              <a:gd name="connsiteX38" fmla="*/ 9848 w 10012"/>
              <a:gd name="connsiteY38" fmla="*/ 7270 h 10000"/>
              <a:gd name="connsiteX39" fmla="*/ 9934 w 10012"/>
              <a:gd name="connsiteY39" fmla="*/ 7580 h 10000"/>
              <a:gd name="connsiteX40" fmla="*/ 10012 w 10012"/>
              <a:gd name="connsiteY40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857 w 10012"/>
              <a:gd name="connsiteY4" fmla="*/ 2074 h 10000"/>
              <a:gd name="connsiteX5" fmla="*/ 4365 w 10012"/>
              <a:gd name="connsiteY5" fmla="*/ 6693 h 10000"/>
              <a:gd name="connsiteX6" fmla="*/ 4577 w 10012"/>
              <a:gd name="connsiteY6" fmla="*/ 6680 h 10000"/>
              <a:gd name="connsiteX7" fmla="*/ 5263 w 10012"/>
              <a:gd name="connsiteY7" fmla="*/ 766 h 10000"/>
              <a:gd name="connsiteX8" fmla="*/ 5262 w 10012"/>
              <a:gd name="connsiteY8" fmla="*/ 745 h 10000"/>
              <a:gd name="connsiteX9" fmla="*/ 5778 w 10012"/>
              <a:gd name="connsiteY9" fmla="*/ 1286 h 10000"/>
              <a:gd name="connsiteX10" fmla="*/ 5946 w 10012"/>
              <a:gd name="connsiteY10" fmla="*/ 0 h 10000"/>
              <a:gd name="connsiteX11" fmla="*/ 6493 w 10012"/>
              <a:gd name="connsiteY11" fmla="*/ 111 h 10000"/>
              <a:gd name="connsiteX12" fmla="*/ 6806 w 10012"/>
              <a:gd name="connsiteY12" fmla="*/ 42 h 10000"/>
              <a:gd name="connsiteX13" fmla="*/ 7003 w 10012"/>
              <a:gd name="connsiteY13" fmla="*/ 361 h 10000"/>
              <a:gd name="connsiteX14" fmla="*/ 7476 w 10012"/>
              <a:gd name="connsiteY14" fmla="*/ 6005 h 10000"/>
              <a:gd name="connsiteX15" fmla="*/ 8179 w 10012"/>
              <a:gd name="connsiteY15" fmla="*/ 6020 h 10000"/>
              <a:gd name="connsiteX16" fmla="*/ 8378 w 10012"/>
              <a:gd name="connsiteY16" fmla="*/ 4920 h 10000"/>
              <a:gd name="connsiteX17" fmla="*/ 8509 w 10012"/>
              <a:gd name="connsiteY17" fmla="*/ 5527 h 10000"/>
              <a:gd name="connsiteX18" fmla="*/ 8594 w 10012"/>
              <a:gd name="connsiteY18" fmla="*/ 4983 h 10000"/>
              <a:gd name="connsiteX19" fmla="*/ 8659 w 10012"/>
              <a:gd name="connsiteY19" fmla="*/ 7656 h 10000"/>
              <a:gd name="connsiteX20" fmla="*/ 8726 w 10012"/>
              <a:gd name="connsiteY20" fmla="*/ 6573 h 10000"/>
              <a:gd name="connsiteX21" fmla="*/ 8822 w 10012"/>
              <a:gd name="connsiteY21" fmla="*/ 7792 h 10000"/>
              <a:gd name="connsiteX22" fmla="*/ 8875 w 10012"/>
              <a:gd name="connsiteY22" fmla="*/ 7573 h 10000"/>
              <a:gd name="connsiteX23" fmla="*/ 8901 w 10012"/>
              <a:gd name="connsiteY23" fmla="*/ 7948 h 10000"/>
              <a:gd name="connsiteX24" fmla="*/ 8998 w 10012"/>
              <a:gd name="connsiteY24" fmla="*/ 7961 h 10000"/>
              <a:gd name="connsiteX25" fmla="*/ 9004 w 10012"/>
              <a:gd name="connsiteY25" fmla="*/ 7688 h 10000"/>
              <a:gd name="connsiteX26" fmla="*/ 9117 w 10012"/>
              <a:gd name="connsiteY26" fmla="*/ 7907 h 10000"/>
              <a:gd name="connsiteX27" fmla="*/ 9180 w 10012"/>
              <a:gd name="connsiteY27" fmla="*/ 7811 h 10000"/>
              <a:gd name="connsiteX28" fmla="*/ 9205 w 10012"/>
              <a:gd name="connsiteY28" fmla="*/ 7352 h 10000"/>
              <a:gd name="connsiteX29" fmla="*/ 9240 w 10012"/>
              <a:gd name="connsiteY29" fmla="*/ 7794 h 10000"/>
              <a:gd name="connsiteX30" fmla="*/ 9319 w 10012"/>
              <a:gd name="connsiteY30" fmla="*/ 7565 h 10000"/>
              <a:gd name="connsiteX31" fmla="*/ 9433 w 10012"/>
              <a:gd name="connsiteY31" fmla="*/ 7687 h 10000"/>
              <a:gd name="connsiteX32" fmla="*/ 9493 w 10012"/>
              <a:gd name="connsiteY32" fmla="*/ 7948 h 10000"/>
              <a:gd name="connsiteX33" fmla="*/ 9527 w 10012"/>
              <a:gd name="connsiteY33" fmla="*/ 7710 h 10000"/>
              <a:gd name="connsiteX34" fmla="*/ 9586 w 10012"/>
              <a:gd name="connsiteY34" fmla="*/ 7913 h 10000"/>
              <a:gd name="connsiteX35" fmla="*/ 9627 w 10012"/>
              <a:gd name="connsiteY35" fmla="*/ 7220 h 10000"/>
              <a:gd name="connsiteX36" fmla="*/ 9733 w 10012"/>
              <a:gd name="connsiteY36" fmla="*/ 7889 h 10000"/>
              <a:gd name="connsiteX37" fmla="*/ 9846 w 10012"/>
              <a:gd name="connsiteY37" fmla="*/ 7547 h 10000"/>
              <a:gd name="connsiteX38" fmla="*/ 9848 w 10012"/>
              <a:gd name="connsiteY38" fmla="*/ 7270 h 10000"/>
              <a:gd name="connsiteX39" fmla="*/ 9934 w 10012"/>
              <a:gd name="connsiteY39" fmla="*/ 7580 h 10000"/>
              <a:gd name="connsiteX40" fmla="*/ 10012 w 10012"/>
              <a:gd name="connsiteY40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833 w 10012"/>
              <a:gd name="connsiteY4" fmla="*/ 1997 h 10000"/>
              <a:gd name="connsiteX5" fmla="*/ 4365 w 10012"/>
              <a:gd name="connsiteY5" fmla="*/ 6693 h 10000"/>
              <a:gd name="connsiteX6" fmla="*/ 4577 w 10012"/>
              <a:gd name="connsiteY6" fmla="*/ 6680 h 10000"/>
              <a:gd name="connsiteX7" fmla="*/ 5263 w 10012"/>
              <a:gd name="connsiteY7" fmla="*/ 766 h 10000"/>
              <a:gd name="connsiteX8" fmla="*/ 5262 w 10012"/>
              <a:gd name="connsiteY8" fmla="*/ 745 h 10000"/>
              <a:gd name="connsiteX9" fmla="*/ 5778 w 10012"/>
              <a:gd name="connsiteY9" fmla="*/ 1286 h 10000"/>
              <a:gd name="connsiteX10" fmla="*/ 5946 w 10012"/>
              <a:gd name="connsiteY10" fmla="*/ 0 h 10000"/>
              <a:gd name="connsiteX11" fmla="*/ 6493 w 10012"/>
              <a:gd name="connsiteY11" fmla="*/ 111 h 10000"/>
              <a:gd name="connsiteX12" fmla="*/ 6806 w 10012"/>
              <a:gd name="connsiteY12" fmla="*/ 42 h 10000"/>
              <a:gd name="connsiteX13" fmla="*/ 7003 w 10012"/>
              <a:gd name="connsiteY13" fmla="*/ 361 h 10000"/>
              <a:gd name="connsiteX14" fmla="*/ 7476 w 10012"/>
              <a:gd name="connsiteY14" fmla="*/ 6005 h 10000"/>
              <a:gd name="connsiteX15" fmla="*/ 8179 w 10012"/>
              <a:gd name="connsiteY15" fmla="*/ 6020 h 10000"/>
              <a:gd name="connsiteX16" fmla="*/ 8378 w 10012"/>
              <a:gd name="connsiteY16" fmla="*/ 4920 h 10000"/>
              <a:gd name="connsiteX17" fmla="*/ 8509 w 10012"/>
              <a:gd name="connsiteY17" fmla="*/ 5527 h 10000"/>
              <a:gd name="connsiteX18" fmla="*/ 8594 w 10012"/>
              <a:gd name="connsiteY18" fmla="*/ 4983 h 10000"/>
              <a:gd name="connsiteX19" fmla="*/ 8659 w 10012"/>
              <a:gd name="connsiteY19" fmla="*/ 7656 h 10000"/>
              <a:gd name="connsiteX20" fmla="*/ 8726 w 10012"/>
              <a:gd name="connsiteY20" fmla="*/ 6573 h 10000"/>
              <a:gd name="connsiteX21" fmla="*/ 8822 w 10012"/>
              <a:gd name="connsiteY21" fmla="*/ 7792 h 10000"/>
              <a:gd name="connsiteX22" fmla="*/ 8875 w 10012"/>
              <a:gd name="connsiteY22" fmla="*/ 7573 h 10000"/>
              <a:gd name="connsiteX23" fmla="*/ 8901 w 10012"/>
              <a:gd name="connsiteY23" fmla="*/ 7948 h 10000"/>
              <a:gd name="connsiteX24" fmla="*/ 8998 w 10012"/>
              <a:gd name="connsiteY24" fmla="*/ 7961 h 10000"/>
              <a:gd name="connsiteX25" fmla="*/ 9004 w 10012"/>
              <a:gd name="connsiteY25" fmla="*/ 7688 h 10000"/>
              <a:gd name="connsiteX26" fmla="*/ 9117 w 10012"/>
              <a:gd name="connsiteY26" fmla="*/ 7907 h 10000"/>
              <a:gd name="connsiteX27" fmla="*/ 9180 w 10012"/>
              <a:gd name="connsiteY27" fmla="*/ 7811 h 10000"/>
              <a:gd name="connsiteX28" fmla="*/ 9205 w 10012"/>
              <a:gd name="connsiteY28" fmla="*/ 7352 h 10000"/>
              <a:gd name="connsiteX29" fmla="*/ 9240 w 10012"/>
              <a:gd name="connsiteY29" fmla="*/ 7794 h 10000"/>
              <a:gd name="connsiteX30" fmla="*/ 9319 w 10012"/>
              <a:gd name="connsiteY30" fmla="*/ 7565 h 10000"/>
              <a:gd name="connsiteX31" fmla="*/ 9433 w 10012"/>
              <a:gd name="connsiteY31" fmla="*/ 7687 h 10000"/>
              <a:gd name="connsiteX32" fmla="*/ 9493 w 10012"/>
              <a:gd name="connsiteY32" fmla="*/ 7948 h 10000"/>
              <a:gd name="connsiteX33" fmla="*/ 9527 w 10012"/>
              <a:gd name="connsiteY33" fmla="*/ 7710 h 10000"/>
              <a:gd name="connsiteX34" fmla="*/ 9586 w 10012"/>
              <a:gd name="connsiteY34" fmla="*/ 7913 h 10000"/>
              <a:gd name="connsiteX35" fmla="*/ 9627 w 10012"/>
              <a:gd name="connsiteY35" fmla="*/ 7220 h 10000"/>
              <a:gd name="connsiteX36" fmla="*/ 9733 w 10012"/>
              <a:gd name="connsiteY36" fmla="*/ 7889 h 10000"/>
              <a:gd name="connsiteX37" fmla="*/ 9846 w 10012"/>
              <a:gd name="connsiteY37" fmla="*/ 7547 h 10000"/>
              <a:gd name="connsiteX38" fmla="*/ 9848 w 10012"/>
              <a:gd name="connsiteY38" fmla="*/ 7270 h 10000"/>
              <a:gd name="connsiteX39" fmla="*/ 9934 w 10012"/>
              <a:gd name="connsiteY39" fmla="*/ 7580 h 10000"/>
              <a:gd name="connsiteX40" fmla="*/ 10012 w 10012"/>
              <a:gd name="connsiteY40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132 w 10012"/>
              <a:gd name="connsiteY3" fmla="*/ 1971 h 10000"/>
              <a:gd name="connsiteX4" fmla="*/ 3833 w 10012"/>
              <a:gd name="connsiteY4" fmla="*/ 1997 h 10000"/>
              <a:gd name="connsiteX5" fmla="*/ 4365 w 10012"/>
              <a:gd name="connsiteY5" fmla="*/ 6693 h 10000"/>
              <a:gd name="connsiteX6" fmla="*/ 4577 w 10012"/>
              <a:gd name="connsiteY6" fmla="*/ 6680 h 10000"/>
              <a:gd name="connsiteX7" fmla="*/ 5263 w 10012"/>
              <a:gd name="connsiteY7" fmla="*/ 766 h 10000"/>
              <a:gd name="connsiteX8" fmla="*/ 5262 w 10012"/>
              <a:gd name="connsiteY8" fmla="*/ 745 h 10000"/>
              <a:gd name="connsiteX9" fmla="*/ 5778 w 10012"/>
              <a:gd name="connsiteY9" fmla="*/ 1286 h 10000"/>
              <a:gd name="connsiteX10" fmla="*/ 5946 w 10012"/>
              <a:gd name="connsiteY10" fmla="*/ 0 h 10000"/>
              <a:gd name="connsiteX11" fmla="*/ 6493 w 10012"/>
              <a:gd name="connsiteY11" fmla="*/ 111 h 10000"/>
              <a:gd name="connsiteX12" fmla="*/ 6806 w 10012"/>
              <a:gd name="connsiteY12" fmla="*/ 42 h 10000"/>
              <a:gd name="connsiteX13" fmla="*/ 7003 w 10012"/>
              <a:gd name="connsiteY13" fmla="*/ 361 h 10000"/>
              <a:gd name="connsiteX14" fmla="*/ 7476 w 10012"/>
              <a:gd name="connsiteY14" fmla="*/ 6005 h 10000"/>
              <a:gd name="connsiteX15" fmla="*/ 8179 w 10012"/>
              <a:gd name="connsiteY15" fmla="*/ 6020 h 10000"/>
              <a:gd name="connsiteX16" fmla="*/ 8378 w 10012"/>
              <a:gd name="connsiteY16" fmla="*/ 4920 h 10000"/>
              <a:gd name="connsiteX17" fmla="*/ 8509 w 10012"/>
              <a:gd name="connsiteY17" fmla="*/ 5527 h 10000"/>
              <a:gd name="connsiteX18" fmla="*/ 8594 w 10012"/>
              <a:gd name="connsiteY18" fmla="*/ 4983 h 10000"/>
              <a:gd name="connsiteX19" fmla="*/ 8659 w 10012"/>
              <a:gd name="connsiteY19" fmla="*/ 7656 h 10000"/>
              <a:gd name="connsiteX20" fmla="*/ 8726 w 10012"/>
              <a:gd name="connsiteY20" fmla="*/ 6573 h 10000"/>
              <a:gd name="connsiteX21" fmla="*/ 8822 w 10012"/>
              <a:gd name="connsiteY21" fmla="*/ 7792 h 10000"/>
              <a:gd name="connsiteX22" fmla="*/ 8875 w 10012"/>
              <a:gd name="connsiteY22" fmla="*/ 7573 h 10000"/>
              <a:gd name="connsiteX23" fmla="*/ 8901 w 10012"/>
              <a:gd name="connsiteY23" fmla="*/ 7948 h 10000"/>
              <a:gd name="connsiteX24" fmla="*/ 8998 w 10012"/>
              <a:gd name="connsiteY24" fmla="*/ 7961 h 10000"/>
              <a:gd name="connsiteX25" fmla="*/ 9004 w 10012"/>
              <a:gd name="connsiteY25" fmla="*/ 7688 h 10000"/>
              <a:gd name="connsiteX26" fmla="*/ 9117 w 10012"/>
              <a:gd name="connsiteY26" fmla="*/ 7907 h 10000"/>
              <a:gd name="connsiteX27" fmla="*/ 9180 w 10012"/>
              <a:gd name="connsiteY27" fmla="*/ 7811 h 10000"/>
              <a:gd name="connsiteX28" fmla="*/ 9205 w 10012"/>
              <a:gd name="connsiteY28" fmla="*/ 7352 h 10000"/>
              <a:gd name="connsiteX29" fmla="*/ 9240 w 10012"/>
              <a:gd name="connsiteY29" fmla="*/ 7794 h 10000"/>
              <a:gd name="connsiteX30" fmla="*/ 9319 w 10012"/>
              <a:gd name="connsiteY30" fmla="*/ 7565 h 10000"/>
              <a:gd name="connsiteX31" fmla="*/ 9433 w 10012"/>
              <a:gd name="connsiteY31" fmla="*/ 7687 h 10000"/>
              <a:gd name="connsiteX32" fmla="*/ 9493 w 10012"/>
              <a:gd name="connsiteY32" fmla="*/ 7948 h 10000"/>
              <a:gd name="connsiteX33" fmla="*/ 9527 w 10012"/>
              <a:gd name="connsiteY33" fmla="*/ 7710 h 10000"/>
              <a:gd name="connsiteX34" fmla="*/ 9586 w 10012"/>
              <a:gd name="connsiteY34" fmla="*/ 7913 h 10000"/>
              <a:gd name="connsiteX35" fmla="*/ 9627 w 10012"/>
              <a:gd name="connsiteY35" fmla="*/ 7220 h 10000"/>
              <a:gd name="connsiteX36" fmla="*/ 9733 w 10012"/>
              <a:gd name="connsiteY36" fmla="*/ 7889 h 10000"/>
              <a:gd name="connsiteX37" fmla="*/ 9846 w 10012"/>
              <a:gd name="connsiteY37" fmla="*/ 7547 h 10000"/>
              <a:gd name="connsiteX38" fmla="*/ 9848 w 10012"/>
              <a:gd name="connsiteY38" fmla="*/ 7270 h 10000"/>
              <a:gd name="connsiteX39" fmla="*/ 9934 w 10012"/>
              <a:gd name="connsiteY39" fmla="*/ 7580 h 10000"/>
              <a:gd name="connsiteX40" fmla="*/ 10012 w 10012"/>
              <a:gd name="connsiteY40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1763 w 10012"/>
              <a:gd name="connsiteY2" fmla="*/ 1903 h 10000"/>
              <a:gd name="connsiteX3" fmla="*/ 3833 w 10012"/>
              <a:gd name="connsiteY3" fmla="*/ 1997 h 10000"/>
              <a:gd name="connsiteX4" fmla="*/ 4365 w 10012"/>
              <a:gd name="connsiteY4" fmla="*/ 6693 h 10000"/>
              <a:gd name="connsiteX5" fmla="*/ 4577 w 10012"/>
              <a:gd name="connsiteY5" fmla="*/ 6680 h 10000"/>
              <a:gd name="connsiteX6" fmla="*/ 5263 w 10012"/>
              <a:gd name="connsiteY6" fmla="*/ 766 h 10000"/>
              <a:gd name="connsiteX7" fmla="*/ 5262 w 10012"/>
              <a:gd name="connsiteY7" fmla="*/ 745 h 10000"/>
              <a:gd name="connsiteX8" fmla="*/ 5778 w 10012"/>
              <a:gd name="connsiteY8" fmla="*/ 1286 h 10000"/>
              <a:gd name="connsiteX9" fmla="*/ 5946 w 10012"/>
              <a:gd name="connsiteY9" fmla="*/ 0 h 10000"/>
              <a:gd name="connsiteX10" fmla="*/ 6493 w 10012"/>
              <a:gd name="connsiteY10" fmla="*/ 111 h 10000"/>
              <a:gd name="connsiteX11" fmla="*/ 6806 w 10012"/>
              <a:gd name="connsiteY11" fmla="*/ 42 h 10000"/>
              <a:gd name="connsiteX12" fmla="*/ 7003 w 10012"/>
              <a:gd name="connsiteY12" fmla="*/ 361 h 10000"/>
              <a:gd name="connsiteX13" fmla="*/ 7476 w 10012"/>
              <a:gd name="connsiteY13" fmla="*/ 6005 h 10000"/>
              <a:gd name="connsiteX14" fmla="*/ 8179 w 10012"/>
              <a:gd name="connsiteY14" fmla="*/ 6020 h 10000"/>
              <a:gd name="connsiteX15" fmla="*/ 8378 w 10012"/>
              <a:gd name="connsiteY15" fmla="*/ 4920 h 10000"/>
              <a:gd name="connsiteX16" fmla="*/ 8509 w 10012"/>
              <a:gd name="connsiteY16" fmla="*/ 5527 h 10000"/>
              <a:gd name="connsiteX17" fmla="*/ 8594 w 10012"/>
              <a:gd name="connsiteY17" fmla="*/ 4983 h 10000"/>
              <a:gd name="connsiteX18" fmla="*/ 8659 w 10012"/>
              <a:gd name="connsiteY18" fmla="*/ 7656 h 10000"/>
              <a:gd name="connsiteX19" fmla="*/ 8726 w 10012"/>
              <a:gd name="connsiteY19" fmla="*/ 6573 h 10000"/>
              <a:gd name="connsiteX20" fmla="*/ 8822 w 10012"/>
              <a:gd name="connsiteY20" fmla="*/ 7792 h 10000"/>
              <a:gd name="connsiteX21" fmla="*/ 8875 w 10012"/>
              <a:gd name="connsiteY21" fmla="*/ 7573 h 10000"/>
              <a:gd name="connsiteX22" fmla="*/ 8901 w 10012"/>
              <a:gd name="connsiteY22" fmla="*/ 7948 h 10000"/>
              <a:gd name="connsiteX23" fmla="*/ 8998 w 10012"/>
              <a:gd name="connsiteY23" fmla="*/ 7961 h 10000"/>
              <a:gd name="connsiteX24" fmla="*/ 9004 w 10012"/>
              <a:gd name="connsiteY24" fmla="*/ 7688 h 10000"/>
              <a:gd name="connsiteX25" fmla="*/ 9117 w 10012"/>
              <a:gd name="connsiteY25" fmla="*/ 7907 h 10000"/>
              <a:gd name="connsiteX26" fmla="*/ 9180 w 10012"/>
              <a:gd name="connsiteY26" fmla="*/ 7811 h 10000"/>
              <a:gd name="connsiteX27" fmla="*/ 9205 w 10012"/>
              <a:gd name="connsiteY27" fmla="*/ 7352 h 10000"/>
              <a:gd name="connsiteX28" fmla="*/ 9240 w 10012"/>
              <a:gd name="connsiteY28" fmla="*/ 7794 h 10000"/>
              <a:gd name="connsiteX29" fmla="*/ 9319 w 10012"/>
              <a:gd name="connsiteY29" fmla="*/ 7565 h 10000"/>
              <a:gd name="connsiteX30" fmla="*/ 9433 w 10012"/>
              <a:gd name="connsiteY30" fmla="*/ 7687 h 10000"/>
              <a:gd name="connsiteX31" fmla="*/ 9493 w 10012"/>
              <a:gd name="connsiteY31" fmla="*/ 7948 h 10000"/>
              <a:gd name="connsiteX32" fmla="*/ 9527 w 10012"/>
              <a:gd name="connsiteY32" fmla="*/ 7710 h 10000"/>
              <a:gd name="connsiteX33" fmla="*/ 9586 w 10012"/>
              <a:gd name="connsiteY33" fmla="*/ 7913 h 10000"/>
              <a:gd name="connsiteX34" fmla="*/ 9627 w 10012"/>
              <a:gd name="connsiteY34" fmla="*/ 7220 h 10000"/>
              <a:gd name="connsiteX35" fmla="*/ 9733 w 10012"/>
              <a:gd name="connsiteY35" fmla="*/ 7889 h 10000"/>
              <a:gd name="connsiteX36" fmla="*/ 9846 w 10012"/>
              <a:gd name="connsiteY36" fmla="*/ 7547 h 10000"/>
              <a:gd name="connsiteX37" fmla="*/ 9848 w 10012"/>
              <a:gd name="connsiteY37" fmla="*/ 7270 h 10000"/>
              <a:gd name="connsiteX38" fmla="*/ 9934 w 10012"/>
              <a:gd name="connsiteY38" fmla="*/ 7580 h 10000"/>
              <a:gd name="connsiteX39" fmla="*/ 10012 w 10012"/>
              <a:gd name="connsiteY39" fmla="*/ 7423 h 10000"/>
              <a:gd name="connsiteX0" fmla="*/ 0 w 10012"/>
              <a:gd name="connsiteY0" fmla="*/ 10000 h 10000"/>
              <a:gd name="connsiteX1" fmla="*/ 820 w 10012"/>
              <a:gd name="connsiteY1" fmla="*/ 1900 h 10000"/>
              <a:gd name="connsiteX2" fmla="*/ 3833 w 10012"/>
              <a:gd name="connsiteY2" fmla="*/ 1997 h 10000"/>
              <a:gd name="connsiteX3" fmla="*/ 4365 w 10012"/>
              <a:gd name="connsiteY3" fmla="*/ 6693 h 10000"/>
              <a:gd name="connsiteX4" fmla="*/ 4577 w 10012"/>
              <a:gd name="connsiteY4" fmla="*/ 6680 h 10000"/>
              <a:gd name="connsiteX5" fmla="*/ 5263 w 10012"/>
              <a:gd name="connsiteY5" fmla="*/ 766 h 10000"/>
              <a:gd name="connsiteX6" fmla="*/ 5262 w 10012"/>
              <a:gd name="connsiteY6" fmla="*/ 745 h 10000"/>
              <a:gd name="connsiteX7" fmla="*/ 5778 w 10012"/>
              <a:gd name="connsiteY7" fmla="*/ 1286 h 10000"/>
              <a:gd name="connsiteX8" fmla="*/ 5946 w 10012"/>
              <a:gd name="connsiteY8" fmla="*/ 0 h 10000"/>
              <a:gd name="connsiteX9" fmla="*/ 6493 w 10012"/>
              <a:gd name="connsiteY9" fmla="*/ 111 h 10000"/>
              <a:gd name="connsiteX10" fmla="*/ 6806 w 10012"/>
              <a:gd name="connsiteY10" fmla="*/ 42 h 10000"/>
              <a:gd name="connsiteX11" fmla="*/ 7003 w 10012"/>
              <a:gd name="connsiteY11" fmla="*/ 361 h 10000"/>
              <a:gd name="connsiteX12" fmla="*/ 7476 w 10012"/>
              <a:gd name="connsiteY12" fmla="*/ 6005 h 10000"/>
              <a:gd name="connsiteX13" fmla="*/ 8179 w 10012"/>
              <a:gd name="connsiteY13" fmla="*/ 6020 h 10000"/>
              <a:gd name="connsiteX14" fmla="*/ 8378 w 10012"/>
              <a:gd name="connsiteY14" fmla="*/ 4920 h 10000"/>
              <a:gd name="connsiteX15" fmla="*/ 8509 w 10012"/>
              <a:gd name="connsiteY15" fmla="*/ 5527 h 10000"/>
              <a:gd name="connsiteX16" fmla="*/ 8594 w 10012"/>
              <a:gd name="connsiteY16" fmla="*/ 4983 h 10000"/>
              <a:gd name="connsiteX17" fmla="*/ 8659 w 10012"/>
              <a:gd name="connsiteY17" fmla="*/ 7656 h 10000"/>
              <a:gd name="connsiteX18" fmla="*/ 8726 w 10012"/>
              <a:gd name="connsiteY18" fmla="*/ 6573 h 10000"/>
              <a:gd name="connsiteX19" fmla="*/ 8822 w 10012"/>
              <a:gd name="connsiteY19" fmla="*/ 7792 h 10000"/>
              <a:gd name="connsiteX20" fmla="*/ 8875 w 10012"/>
              <a:gd name="connsiteY20" fmla="*/ 7573 h 10000"/>
              <a:gd name="connsiteX21" fmla="*/ 8901 w 10012"/>
              <a:gd name="connsiteY21" fmla="*/ 7948 h 10000"/>
              <a:gd name="connsiteX22" fmla="*/ 8998 w 10012"/>
              <a:gd name="connsiteY22" fmla="*/ 7961 h 10000"/>
              <a:gd name="connsiteX23" fmla="*/ 9004 w 10012"/>
              <a:gd name="connsiteY23" fmla="*/ 7688 h 10000"/>
              <a:gd name="connsiteX24" fmla="*/ 9117 w 10012"/>
              <a:gd name="connsiteY24" fmla="*/ 7907 h 10000"/>
              <a:gd name="connsiteX25" fmla="*/ 9180 w 10012"/>
              <a:gd name="connsiteY25" fmla="*/ 7811 h 10000"/>
              <a:gd name="connsiteX26" fmla="*/ 9205 w 10012"/>
              <a:gd name="connsiteY26" fmla="*/ 7352 h 10000"/>
              <a:gd name="connsiteX27" fmla="*/ 9240 w 10012"/>
              <a:gd name="connsiteY27" fmla="*/ 7794 h 10000"/>
              <a:gd name="connsiteX28" fmla="*/ 9319 w 10012"/>
              <a:gd name="connsiteY28" fmla="*/ 7565 h 10000"/>
              <a:gd name="connsiteX29" fmla="*/ 9433 w 10012"/>
              <a:gd name="connsiteY29" fmla="*/ 7687 h 10000"/>
              <a:gd name="connsiteX30" fmla="*/ 9493 w 10012"/>
              <a:gd name="connsiteY30" fmla="*/ 7948 h 10000"/>
              <a:gd name="connsiteX31" fmla="*/ 9527 w 10012"/>
              <a:gd name="connsiteY31" fmla="*/ 7710 h 10000"/>
              <a:gd name="connsiteX32" fmla="*/ 9586 w 10012"/>
              <a:gd name="connsiteY32" fmla="*/ 7913 h 10000"/>
              <a:gd name="connsiteX33" fmla="*/ 9627 w 10012"/>
              <a:gd name="connsiteY33" fmla="*/ 7220 h 10000"/>
              <a:gd name="connsiteX34" fmla="*/ 9733 w 10012"/>
              <a:gd name="connsiteY34" fmla="*/ 7889 h 10000"/>
              <a:gd name="connsiteX35" fmla="*/ 9846 w 10012"/>
              <a:gd name="connsiteY35" fmla="*/ 7547 h 10000"/>
              <a:gd name="connsiteX36" fmla="*/ 9848 w 10012"/>
              <a:gd name="connsiteY36" fmla="*/ 7270 h 10000"/>
              <a:gd name="connsiteX37" fmla="*/ 9934 w 10012"/>
              <a:gd name="connsiteY37" fmla="*/ 7580 h 10000"/>
              <a:gd name="connsiteX38" fmla="*/ 10012 w 10012"/>
              <a:gd name="connsiteY38" fmla="*/ 7423 h 10000"/>
              <a:gd name="connsiteX0" fmla="*/ 0 w 10012"/>
              <a:gd name="connsiteY0" fmla="*/ 10000 h 10000"/>
              <a:gd name="connsiteX1" fmla="*/ 820 w 10012"/>
              <a:gd name="connsiteY1" fmla="*/ 1977 h 10000"/>
              <a:gd name="connsiteX2" fmla="*/ 3833 w 10012"/>
              <a:gd name="connsiteY2" fmla="*/ 1997 h 10000"/>
              <a:gd name="connsiteX3" fmla="*/ 4365 w 10012"/>
              <a:gd name="connsiteY3" fmla="*/ 6693 h 10000"/>
              <a:gd name="connsiteX4" fmla="*/ 4577 w 10012"/>
              <a:gd name="connsiteY4" fmla="*/ 6680 h 10000"/>
              <a:gd name="connsiteX5" fmla="*/ 5263 w 10012"/>
              <a:gd name="connsiteY5" fmla="*/ 766 h 10000"/>
              <a:gd name="connsiteX6" fmla="*/ 5262 w 10012"/>
              <a:gd name="connsiteY6" fmla="*/ 745 h 10000"/>
              <a:gd name="connsiteX7" fmla="*/ 5778 w 10012"/>
              <a:gd name="connsiteY7" fmla="*/ 1286 h 10000"/>
              <a:gd name="connsiteX8" fmla="*/ 5946 w 10012"/>
              <a:gd name="connsiteY8" fmla="*/ 0 h 10000"/>
              <a:gd name="connsiteX9" fmla="*/ 6493 w 10012"/>
              <a:gd name="connsiteY9" fmla="*/ 111 h 10000"/>
              <a:gd name="connsiteX10" fmla="*/ 6806 w 10012"/>
              <a:gd name="connsiteY10" fmla="*/ 42 h 10000"/>
              <a:gd name="connsiteX11" fmla="*/ 7003 w 10012"/>
              <a:gd name="connsiteY11" fmla="*/ 361 h 10000"/>
              <a:gd name="connsiteX12" fmla="*/ 7476 w 10012"/>
              <a:gd name="connsiteY12" fmla="*/ 6005 h 10000"/>
              <a:gd name="connsiteX13" fmla="*/ 8179 w 10012"/>
              <a:gd name="connsiteY13" fmla="*/ 6020 h 10000"/>
              <a:gd name="connsiteX14" fmla="*/ 8378 w 10012"/>
              <a:gd name="connsiteY14" fmla="*/ 4920 h 10000"/>
              <a:gd name="connsiteX15" fmla="*/ 8509 w 10012"/>
              <a:gd name="connsiteY15" fmla="*/ 5527 h 10000"/>
              <a:gd name="connsiteX16" fmla="*/ 8594 w 10012"/>
              <a:gd name="connsiteY16" fmla="*/ 4983 h 10000"/>
              <a:gd name="connsiteX17" fmla="*/ 8659 w 10012"/>
              <a:gd name="connsiteY17" fmla="*/ 7656 h 10000"/>
              <a:gd name="connsiteX18" fmla="*/ 8726 w 10012"/>
              <a:gd name="connsiteY18" fmla="*/ 6573 h 10000"/>
              <a:gd name="connsiteX19" fmla="*/ 8822 w 10012"/>
              <a:gd name="connsiteY19" fmla="*/ 7792 h 10000"/>
              <a:gd name="connsiteX20" fmla="*/ 8875 w 10012"/>
              <a:gd name="connsiteY20" fmla="*/ 7573 h 10000"/>
              <a:gd name="connsiteX21" fmla="*/ 8901 w 10012"/>
              <a:gd name="connsiteY21" fmla="*/ 7948 h 10000"/>
              <a:gd name="connsiteX22" fmla="*/ 8998 w 10012"/>
              <a:gd name="connsiteY22" fmla="*/ 7961 h 10000"/>
              <a:gd name="connsiteX23" fmla="*/ 9004 w 10012"/>
              <a:gd name="connsiteY23" fmla="*/ 7688 h 10000"/>
              <a:gd name="connsiteX24" fmla="*/ 9117 w 10012"/>
              <a:gd name="connsiteY24" fmla="*/ 7907 h 10000"/>
              <a:gd name="connsiteX25" fmla="*/ 9180 w 10012"/>
              <a:gd name="connsiteY25" fmla="*/ 7811 h 10000"/>
              <a:gd name="connsiteX26" fmla="*/ 9205 w 10012"/>
              <a:gd name="connsiteY26" fmla="*/ 7352 h 10000"/>
              <a:gd name="connsiteX27" fmla="*/ 9240 w 10012"/>
              <a:gd name="connsiteY27" fmla="*/ 7794 h 10000"/>
              <a:gd name="connsiteX28" fmla="*/ 9319 w 10012"/>
              <a:gd name="connsiteY28" fmla="*/ 7565 h 10000"/>
              <a:gd name="connsiteX29" fmla="*/ 9433 w 10012"/>
              <a:gd name="connsiteY29" fmla="*/ 7687 h 10000"/>
              <a:gd name="connsiteX30" fmla="*/ 9493 w 10012"/>
              <a:gd name="connsiteY30" fmla="*/ 7948 h 10000"/>
              <a:gd name="connsiteX31" fmla="*/ 9527 w 10012"/>
              <a:gd name="connsiteY31" fmla="*/ 7710 h 10000"/>
              <a:gd name="connsiteX32" fmla="*/ 9586 w 10012"/>
              <a:gd name="connsiteY32" fmla="*/ 7913 h 10000"/>
              <a:gd name="connsiteX33" fmla="*/ 9627 w 10012"/>
              <a:gd name="connsiteY33" fmla="*/ 7220 h 10000"/>
              <a:gd name="connsiteX34" fmla="*/ 9733 w 10012"/>
              <a:gd name="connsiteY34" fmla="*/ 7889 h 10000"/>
              <a:gd name="connsiteX35" fmla="*/ 9846 w 10012"/>
              <a:gd name="connsiteY35" fmla="*/ 7547 h 10000"/>
              <a:gd name="connsiteX36" fmla="*/ 9848 w 10012"/>
              <a:gd name="connsiteY36" fmla="*/ 7270 h 10000"/>
              <a:gd name="connsiteX37" fmla="*/ 9934 w 10012"/>
              <a:gd name="connsiteY37" fmla="*/ 7580 h 10000"/>
              <a:gd name="connsiteX38" fmla="*/ 10012 w 10012"/>
              <a:gd name="connsiteY38" fmla="*/ 7423 h 10000"/>
              <a:gd name="connsiteX0" fmla="*/ 0 w 10012"/>
              <a:gd name="connsiteY0" fmla="*/ 10000 h 10000"/>
              <a:gd name="connsiteX1" fmla="*/ 796 w 10012"/>
              <a:gd name="connsiteY1" fmla="*/ 1977 h 10000"/>
              <a:gd name="connsiteX2" fmla="*/ 3833 w 10012"/>
              <a:gd name="connsiteY2" fmla="*/ 1997 h 10000"/>
              <a:gd name="connsiteX3" fmla="*/ 4365 w 10012"/>
              <a:gd name="connsiteY3" fmla="*/ 6693 h 10000"/>
              <a:gd name="connsiteX4" fmla="*/ 4577 w 10012"/>
              <a:gd name="connsiteY4" fmla="*/ 6680 h 10000"/>
              <a:gd name="connsiteX5" fmla="*/ 5263 w 10012"/>
              <a:gd name="connsiteY5" fmla="*/ 766 h 10000"/>
              <a:gd name="connsiteX6" fmla="*/ 5262 w 10012"/>
              <a:gd name="connsiteY6" fmla="*/ 745 h 10000"/>
              <a:gd name="connsiteX7" fmla="*/ 5778 w 10012"/>
              <a:gd name="connsiteY7" fmla="*/ 1286 h 10000"/>
              <a:gd name="connsiteX8" fmla="*/ 5946 w 10012"/>
              <a:gd name="connsiteY8" fmla="*/ 0 h 10000"/>
              <a:gd name="connsiteX9" fmla="*/ 6493 w 10012"/>
              <a:gd name="connsiteY9" fmla="*/ 111 h 10000"/>
              <a:gd name="connsiteX10" fmla="*/ 6806 w 10012"/>
              <a:gd name="connsiteY10" fmla="*/ 42 h 10000"/>
              <a:gd name="connsiteX11" fmla="*/ 7003 w 10012"/>
              <a:gd name="connsiteY11" fmla="*/ 361 h 10000"/>
              <a:gd name="connsiteX12" fmla="*/ 7476 w 10012"/>
              <a:gd name="connsiteY12" fmla="*/ 6005 h 10000"/>
              <a:gd name="connsiteX13" fmla="*/ 8179 w 10012"/>
              <a:gd name="connsiteY13" fmla="*/ 6020 h 10000"/>
              <a:gd name="connsiteX14" fmla="*/ 8378 w 10012"/>
              <a:gd name="connsiteY14" fmla="*/ 4920 h 10000"/>
              <a:gd name="connsiteX15" fmla="*/ 8509 w 10012"/>
              <a:gd name="connsiteY15" fmla="*/ 5527 h 10000"/>
              <a:gd name="connsiteX16" fmla="*/ 8594 w 10012"/>
              <a:gd name="connsiteY16" fmla="*/ 4983 h 10000"/>
              <a:gd name="connsiteX17" fmla="*/ 8659 w 10012"/>
              <a:gd name="connsiteY17" fmla="*/ 7656 h 10000"/>
              <a:gd name="connsiteX18" fmla="*/ 8726 w 10012"/>
              <a:gd name="connsiteY18" fmla="*/ 6573 h 10000"/>
              <a:gd name="connsiteX19" fmla="*/ 8822 w 10012"/>
              <a:gd name="connsiteY19" fmla="*/ 7792 h 10000"/>
              <a:gd name="connsiteX20" fmla="*/ 8875 w 10012"/>
              <a:gd name="connsiteY20" fmla="*/ 7573 h 10000"/>
              <a:gd name="connsiteX21" fmla="*/ 8901 w 10012"/>
              <a:gd name="connsiteY21" fmla="*/ 7948 h 10000"/>
              <a:gd name="connsiteX22" fmla="*/ 8998 w 10012"/>
              <a:gd name="connsiteY22" fmla="*/ 7961 h 10000"/>
              <a:gd name="connsiteX23" fmla="*/ 9004 w 10012"/>
              <a:gd name="connsiteY23" fmla="*/ 7688 h 10000"/>
              <a:gd name="connsiteX24" fmla="*/ 9117 w 10012"/>
              <a:gd name="connsiteY24" fmla="*/ 7907 h 10000"/>
              <a:gd name="connsiteX25" fmla="*/ 9180 w 10012"/>
              <a:gd name="connsiteY25" fmla="*/ 7811 h 10000"/>
              <a:gd name="connsiteX26" fmla="*/ 9205 w 10012"/>
              <a:gd name="connsiteY26" fmla="*/ 7352 h 10000"/>
              <a:gd name="connsiteX27" fmla="*/ 9240 w 10012"/>
              <a:gd name="connsiteY27" fmla="*/ 7794 h 10000"/>
              <a:gd name="connsiteX28" fmla="*/ 9319 w 10012"/>
              <a:gd name="connsiteY28" fmla="*/ 7565 h 10000"/>
              <a:gd name="connsiteX29" fmla="*/ 9433 w 10012"/>
              <a:gd name="connsiteY29" fmla="*/ 7687 h 10000"/>
              <a:gd name="connsiteX30" fmla="*/ 9493 w 10012"/>
              <a:gd name="connsiteY30" fmla="*/ 7948 h 10000"/>
              <a:gd name="connsiteX31" fmla="*/ 9527 w 10012"/>
              <a:gd name="connsiteY31" fmla="*/ 7710 h 10000"/>
              <a:gd name="connsiteX32" fmla="*/ 9586 w 10012"/>
              <a:gd name="connsiteY32" fmla="*/ 7913 h 10000"/>
              <a:gd name="connsiteX33" fmla="*/ 9627 w 10012"/>
              <a:gd name="connsiteY33" fmla="*/ 7220 h 10000"/>
              <a:gd name="connsiteX34" fmla="*/ 9733 w 10012"/>
              <a:gd name="connsiteY34" fmla="*/ 7889 h 10000"/>
              <a:gd name="connsiteX35" fmla="*/ 9846 w 10012"/>
              <a:gd name="connsiteY35" fmla="*/ 7547 h 10000"/>
              <a:gd name="connsiteX36" fmla="*/ 9848 w 10012"/>
              <a:gd name="connsiteY36" fmla="*/ 7270 h 10000"/>
              <a:gd name="connsiteX37" fmla="*/ 9934 w 10012"/>
              <a:gd name="connsiteY37" fmla="*/ 7580 h 10000"/>
              <a:gd name="connsiteX38" fmla="*/ 10012 w 10012"/>
              <a:gd name="connsiteY38" fmla="*/ 7423 h 10000"/>
              <a:gd name="connsiteX0" fmla="*/ 0 w 10012"/>
              <a:gd name="connsiteY0" fmla="*/ 10000 h 10000"/>
              <a:gd name="connsiteX1" fmla="*/ 796 w 10012"/>
              <a:gd name="connsiteY1" fmla="*/ 1977 h 10000"/>
              <a:gd name="connsiteX2" fmla="*/ 3833 w 10012"/>
              <a:gd name="connsiteY2" fmla="*/ 1997 h 10000"/>
              <a:gd name="connsiteX3" fmla="*/ 4365 w 10012"/>
              <a:gd name="connsiteY3" fmla="*/ 6693 h 10000"/>
              <a:gd name="connsiteX4" fmla="*/ 4577 w 10012"/>
              <a:gd name="connsiteY4" fmla="*/ 6680 h 10000"/>
              <a:gd name="connsiteX5" fmla="*/ 5263 w 10012"/>
              <a:gd name="connsiteY5" fmla="*/ 766 h 10000"/>
              <a:gd name="connsiteX6" fmla="*/ 5262 w 10012"/>
              <a:gd name="connsiteY6" fmla="*/ 745 h 10000"/>
              <a:gd name="connsiteX7" fmla="*/ 5778 w 10012"/>
              <a:gd name="connsiteY7" fmla="*/ 1286 h 10000"/>
              <a:gd name="connsiteX8" fmla="*/ 5946 w 10012"/>
              <a:gd name="connsiteY8" fmla="*/ 0 h 10000"/>
              <a:gd name="connsiteX9" fmla="*/ 6493 w 10012"/>
              <a:gd name="connsiteY9" fmla="*/ 111 h 10000"/>
              <a:gd name="connsiteX10" fmla="*/ 6806 w 10012"/>
              <a:gd name="connsiteY10" fmla="*/ 42 h 10000"/>
              <a:gd name="connsiteX11" fmla="*/ 7067 w 10012"/>
              <a:gd name="connsiteY11" fmla="*/ 1055 h 10000"/>
              <a:gd name="connsiteX12" fmla="*/ 7476 w 10012"/>
              <a:gd name="connsiteY12" fmla="*/ 6005 h 10000"/>
              <a:gd name="connsiteX13" fmla="*/ 8179 w 10012"/>
              <a:gd name="connsiteY13" fmla="*/ 6020 h 10000"/>
              <a:gd name="connsiteX14" fmla="*/ 8378 w 10012"/>
              <a:gd name="connsiteY14" fmla="*/ 4920 h 10000"/>
              <a:gd name="connsiteX15" fmla="*/ 8509 w 10012"/>
              <a:gd name="connsiteY15" fmla="*/ 5527 h 10000"/>
              <a:gd name="connsiteX16" fmla="*/ 8594 w 10012"/>
              <a:gd name="connsiteY16" fmla="*/ 4983 h 10000"/>
              <a:gd name="connsiteX17" fmla="*/ 8659 w 10012"/>
              <a:gd name="connsiteY17" fmla="*/ 7656 h 10000"/>
              <a:gd name="connsiteX18" fmla="*/ 8726 w 10012"/>
              <a:gd name="connsiteY18" fmla="*/ 6573 h 10000"/>
              <a:gd name="connsiteX19" fmla="*/ 8822 w 10012"/>
              <a:gd name="connsiteY19" fmla="*/ 7792 h 10000"/>
              <a:gd name="connsiteX20" fmla="*/ 8875 w 10012"/>
              <a:gd name="connsiteY20" fmla="*/ 7573 h 10000"/>
              <a:gd name="connsiteX21" fmla="*/ 8901 w 10012"/>
              <a:gd name="connsiteY21" fmla="*/ 7948 h 10000"/>
              <a:gd name="connsiteX22" fmla="*/ 8998 w 10012"/>
              <a:gd name="connsiteY22" fmla="*/ 7961 h 10000"/>
              <a:gd name="connsiteX23" fmla="*/ 9004 w 10012"/>
              <a:gd name="connsiteY23" fmla="*/ 7688 h 10000"/>
              <a:gd name="connsiteX24" fmla="*/ 9117 w 10012"/>
              <a:gd name="connsiteY24" fmla="*/ 7907 h 10000"/>
              <a:gd name="connsiteX25" fmla="*/ 9180 w 10012"/>
              <a:gd name="connsiteY25" fmla="*/ 7811 h 10000"/>
              <a:gd name="connsiteX26" fmla="*/ 9205 w 10012"/>
              <a:gd name="connsiteY26" fmla="*/ 7352 h 10000"/>
              <a:gd name="connsiteX27" fmla="*/ 9240 w 10012"/>
              <a:gd name="connsiteY27" fmla="*/ 7794 h 10000"/>
              <a:gd name="connsiteX28" fmla="*/ 9319 w 10012"/>
              <a:gd name="connsiteY28" fmla="*/ 7565 h 10000"/>
              <a:gd name="connsiteX29" fmla="*/ 9433 w 10012"/>
              <a:gd name="connsiteY29" fmla="*/ 7687 h 10000"/>
              <a:gd name="connsiteX30" fmla="*/ 9493 w 10012"/>
              <a:gd name="connsiteY30" fmla="*/ 7948 h 10000"/>
              <a:gd name="connsiteX31" fmla="*/ 9527 w 10012"/>
              <a:gd name="connsiteY31" fmla="*/ 7710 h 10000"/>
              <a:gd name="connsiteX32" fmla="*/ 9586 w 10012"/>
              <a:gd name="connsiteY32" fmla="*/ 7913 h 10000"/>
              <a:gd name="connsiteX33" fmla="*/ 9627 w 10012"/>
              <a:gd name="connsiteY33" fmla="*/ 7220 h 10000"/>
              <a:gd name="connsiteX34" fmla="*/ 9733 w 10012"/>
              <a:gd name="connsiteY34" fmla="*/ 7889 h 10000"/>
              <a:gd name="connsiteX35" fmla="*/ 9846 w 10012"/>
              <a:gd name="connsiteY35" fmla="*/ 7547 h 10000"/>
              <a:gd name="connsiteX36" fmla="*/ 9848 w 10012"/>
              <a:gd name="connsiteY36" fmla="*/ 7270 h 10000"/>
              <a:gd name="connsiteX37" fmla="*/ 9934 w 10012"/>
              <a:gd name="connsiteY37" fmla="*/ 7580 h 10000"/>
              <a:gd name="connsiteX38" fmla="*/ 10012 w 10012"/>
              <a:gd name="connsiteY38" fmla="*/ 7423 h 10000"/>
              <a:gd name="connsiteX0" fmla="*/ 0 w 10012"/>
              <a:gd name="connsiteY0" fmla="*/ 9958 h 9958"/>
              <a:gd name="connsiteX1" fmla="*/ 796 w 10012"/>
              <a:gd name="connsiteY1" fmla="*/ 1935 h 9958"/>
              <a:gd name="connsiteX2" fmla="*/ 3833 w 10012"/>
              <a:gd name="connsiteY2" fmla="*/ 1955 h 9958"/>
              <a:gd name="connsiteX3" fmla="*/ 4365 w 10012"/>
              <a:gd name="connsiteY3" fmla="*/ 6651 h 9958"/>
              <a:gd name="connsiteX4" fmla="*/ 4577 w 10012"/>
              <a:gd name="connsiteY4" fmla="*/ 6638 h 9958"/>
              <a:gd name="connsiteX5" fmla="*/ 5263 w 10012"/>
              <a:gd name="connsiteY5" fmla="*/ 724 h 9958"/>
              <a:gd name="connsiteX6" fmla="*/ 5262 w 10012"/>
              <a:gd name="connsiteY6" fmla="*/ 703 h 9958"/>
              <a:gd name="connsiteX7" fmla="*/ 5778 w 10012"/>
              <a:gd name="connsiteY7" fmla="*/ 1244 h 9958"/>
              <a:gd name="connsiteX8" fmla="*/ 6493 w 10012"/>
              <a:gd name="connsiteY8" fmla="*/ 69 h 9958"/>
              <a:gd name="connsiteX9" fmla="*/ 6806 w 10012"/>
              <a:gd name="connsiteY9" fmla="*/ 0 h 9958"/>
              <a:gd name="connsiteX10" fmla="*/ 7067 w 10012"/>
              <a:gd name="connsiteY10" fmla="*/ 1013 h 9958"/>
              <a:gd name="connsiteX11" fmla="*/ 7476 w 10012"/>
              <a:gd name="connsiteY11" fmla="*/ 5963 h 9958"/>
              <a:gd name="connsiteX12" fmla="*/ 8179 w 10012"/>
              <a:gd name="connsiteY12" fmla="*/ 5978 h 9958"/>
              <a:gd name="connsiteX13" fmla="*/ 8378 w 10012"/>
              <a:gd name="connsiteY13" fmla="*/ 4878 h 9958"/>
              <a:gd name="connsiteX14" fmla="*/ 8509 w 10012"/>
              <a:gd name="connsiteY14" fmla="*/ 5485 h 9958"/>
              <a:gd name="connsiteX15" fmla="*/ 8594 w 10012"/>
              <a:gd name="connsiteY15" fmla="*/ 4941 h 9958"/>
              <a:gd name="connsiteX16" fmla="*/ 8659 w 10012"/>
              <a:gd name="connsiteY16" fmla="*/ 7614 h 9958"/>
              <a:gd name="connsiteX17" fmla="*/ 8726 w 10012"/>
              <a:gd name="connsiteY17" fmla="*/ 6531 h 9958"/>
              <a:gd name="connsiteX18" fmla="*/ 8822 w 10012"/>
              <a:gd name="connsiteY18" fmla="*/ 7750 h 9958"/>
              <a:gd name="connsiteX19" fmla="*/ 8875 w 10012"/>
              <a:gd name="connsiteY19" fmla="*/ 7531 h 9958"/>
              <a:gd name="connsiteX20" fmla="*/ 8901 w 10012"/>
              <a:gd name="connsiteY20" fmla="*/ 7906 h 9958"/>
              <a:gd name="connsiteX21" fmla="*/ 8998 w 10012"/>
              <a:gd name="connsiteY21" fmla="*/ 7919 h 9958"/>
              <a:gd name="connsiteX22" fmla="*/ 9004 w 10012"/>
              <a:gd name="connsiteY22" fmla="*/ 7646 h 9958"/>
              <a:gd name="connsiteX23" fmla="*/ 9117 w 10012"/>
              <a:gd name="connsiteY23" fmla="*/ 7865 h 9958"/>
              <a:gd name="connsiteX24" fmla="*/ 9180 w 10012"/>
              <a:gd name="connsiteY24" fmla="*/ 7769 h 9958"/>
              <a:gd name="connsiteX25" fmla="*/ 9205 w 10012"/>
              <a:gd name="connsiteY25" fmla="*/ 7310 h 9958"/>
              <a:gd name="connsiteX26" fmla="*/ 9240 w 10012"/>
              <a:gd name="connsiteY26" fmla="*/ 7752 h 9958"/>
              <a:gd name="connsiteX27" fmla="*/ 9319 w 10012"/>
              <a:gd name="connsiteY27" fmla="*/ 7523 h 9958"/>
              <a:gd name="connsiteX28" fmla="*/ 9433 w 10012"/>
              <a:gd name="connsiteY28" fmla="*/ 7645 h 9958"/>
              <a:gd name="connsiteX29" fmla="*/ 9493 w 10012"/>
              <a:gd name="connsiteY29" fmla="*/ 7906 h 9958"/>
              <a:gd name="connsiteX30" fmla="*/ 9527 w 10012"/>
              <a:gd name="connsiteY30" fmla="*/ 7668 h 9958"/>
              <a:gd name="connsiteX31" fmla="*/ 9586 w 10012"/>
              <a:gd name="connsiteY31" fmla="*/ 7871 h 9958"/>
              <a:gd name="connsiteX32" fmla="*/ 9627 w 10012"/>
              <a:gd name="connsiteY32" fmla="*/ 7178 h 9958"/>
              <a:gd name="connsiteX33" fmla="*/ 9733 w 10012"/>
              <a:gd name="connsiteY33" fmla="*/ 7847 h 9958"/>
              <a:gd name="connsiteX34" fmla="*/ 9846 w 10012"/>
              <a:gd name="connsiteY34" fmla="*/ 7505 h 9958"/>
              <a:gd name="connsiteX35" fmla="*/ 9848 w 10012"/>
              <a:gd name="connsiteY35" fmla="*/ 7228 h 9958"/>
              <a:gd name="connsiteX36" fmla="*/ 9934 w 10012"/>
              <a:gd name="connsiteY36" fmla="*/ 7538 h 9958"/>
              <a:gd name="connsiteX37" fmla="*/ 10012 w 10012"/>
              <a:gd name="connsiteY37" fmla="*/ 7381 h 9958"/>
              <a:gd name="connsiteX0" fmla="*/ 0 w 10000"/>
              <a:gd name="connsiteY0" fmla="*/ 10000 h 10000"/>
              <a:gd name="connsiteX1" fmla="*/ 795 w 10000"/>
              <a:gd name="connsiteY1" fmla="*/ 1943 h 10000"/>
              <a:gd name="connsiteX2" fmla="*/ 3828 w 10000"/>
              <a:gd name="connsiteY2" fmla="*/ 1963 h 10000"/>
              <a:gd name="connsiteX3" fmla="*/ 4360 w 10000"/>
              <a:gd name="connsiteY3" fmla="*/ 6679 h 10000"/>
              <a:gd name="connsiteX4" fmla="*/ 4572 w 10000"/>
              <a:gd name="connsiteY4" fmla="*/ 6666 h 10000"/>
              <a:gd name="connsiteX5" fmla="*/ 5257 w 10000"/>
              <a:gd name="connsiteY5" fmla="*/ 727 h 10000"/>
              <a:gd name="connsiteX6" fmla="*/ 5256 w 10000"/>
              <a:gd name="connsiteY6" fmla="*/ 706 h 10000"/>
              <a:gd name="connsiteX7" fmla="*/ 6485 w 10000"/>
              <a:gd name="connsiteY7" fmla="*/ 69 h 10000"/>
              <a:gd name="connsiteX8" fmla="*/ 6798 w 10000"/>
              <a:gd name="connsiteY8" fmla="*/ 0 h 10000"/>
              <a:gd name="connsiteX9" fmla="*/ 7059 w 10000"/>
              <a:gd name="connsiteY9" fmla="*/ 1017 h 10000"/>
              <a:gd name="connsiteX10" fmla="*/ 7467 w 10000"/>
              <a:gd name="connsiteY10" fmla="*/ 5988 h 10000"/>
              <a:gd name="connsiteX11" fmla="*/ 8169 w 10000"/>
              <a:gd name="connsiteY11" fmla="*/ 6003 h 10000"/>
              <a:gd name="connsiteX12" fmla="*/ 8368 w 10000"/>
              <a:gd name="connsiteY12" fmla="*/ 4899 h 10000"/>
              <a:gd name="connsiteX13" fmla="*/ 8499 w 10000"/>
              <a:gd name="connsiteY13" fmla="*/ 5508 h 10000"/>
              <a:gd name="connsiteX14" fmla="*/ 8584 w 10000"/>
              <a:gd name="connsiteY14" fmla="*/ 4962 h 10000"/>
              <a:gd name="connsiteX15" fmla="*/ 8649 w 10000"/>
              <a:gd name="connsiteY15" fmla="*/ 7646 h 10000"/>
              <a:gd name="connsiteX16" fmla="*/ 8716 w 10000"/>
              <a:gd name="connsiteY16" fmla="*/ 6559 h 10000"/>
              <a:gd name="connsiteX17" fmla="*/ 8811 w 10000"/>
              <a:gd name="connsiteY17" fmla="*/ 7783 h 10000"/>
              <a:gd name="connsiteX18" fmla="*/ 8864 w 10000"/>
              <a:gd name="connsiteY18" fmla="*/ 7563 h 10000"/>
              <a:gd name="connsiteX19" fmla="*/ 8890 w 10000"/>
              <a:gd name="connsiteY19" fmla="*/ 7939 h 10000"/>
              <a:gd name="connsiteX20" fmla="*/ 8987 w 10000"/>
              <a:gd name="connsiteY20" fmla="*/ 7952 h 10000"/>
              <a:gd name="connsiteX21" fmla="*/ 8993 w 10000"/>
              <a:gd name="connsiteY21" fmla="*/ 7678 h 10000"/>
              <a:gd name="connsiteX22" fmla="*/ 9106 w 10000"/>
              <a:gd name="connsiteY22" fmla="*/ 7898 h 10000"/>
              <a:gd name="connsiteX23" fmla="*/ 9169 w 10000"/>
              <a:gd name="connsiteY23" fmla="*/ 7802 h 10000"/>
              <a:gd name="connsiteX24" fmla="*/ 9194 w 10000"/>
              <a:gd name="connsiteY24" fmla="*/ 7341 h 10000"/>
              <a:gd name="connsiteX25" fmla="*/ 9229 w 10000"/>
              <a:gd name="connsiteY25" fmla="*/ 7785 h 10000"/>
              <a:gd name="connsiteX26" fmla="*/ 9308 w 10000"/>
              <a:gd name="connsiteY26" fmla="*/ 7555 h 10000"/>
              <a:gd name="connsiteX27" fmla="*/ 9422 w 10000"/>
              <a:gd name="connsiteY27" fmla="*/ 7677 h 10000"/>
              <a:gd name="connsiteX28" fmla="*/ 9482 w 10000"/>
              <a:gd name="connsiteY28" fmla="*/ 7939 h 10000"/>
              <a:gd name="connsiteX29" fmla="*/ 9516 w 10000"/>
              <a:gd name="connsiteY29" fmla="*/ 7700 h 10000"/>
              <a:gd name="connsiteX30" fmla="*/ 9575 w 10000"/>
              <a:gd name="connsiteY30" fmla="*/ 7904 h 10000"/>
              <a:gd name="connsiteX31" fmla="*/ 9615 w 10000"/>
              <a:gd name="connsiteY31" fmla="*/ 7208 h 10000"/>
              <a:gd name="connsiteX32" fmla="*/ 9721 w 10000"/>
              <a:gd name="connsiteY32" fmla="*/ 7880 h 10000"/>
              <a:gd name="connsiteX33" fmla="*/ 9834 w 10000"/>
              <a:gd name="connsiteY33" fmla="*/ 7537 h 10000"/>
              <a:gd name="connsiteX34" fmla="*/ 9836 w 10000"/>
              <a:gd name="connsiteY34" fmla="*/ 7258 h 10000"/>
              <a:gd name="connsiteX35" fmla="*/ 9922 w 10000"/>
              <a:gd name="connsiteY35" fmla="*/ 7570 h 10000"/>
              <a:gd name="connsiteX36" fmla="*/ 10000 w 10000"/>
              <a:gd name="connsiteY36" fmla="*/ 7412 h 10000"/>
              <a:gd name="connsiteX0" fmla="*/ 0 w 10000"/>
              <a:gd name="connsiteY0" fmla="*/ 10003 h 10003"/>
              <a:gd name="connsiteX1" fmla="*/ 795 w 10000"/>
              <a:gd name="connsiteY1" fmla="*/ 1946 h 10003"/>
              <a:gd name="connsiteX2" fmla="*/ 3828 w 10000"/>
              <a:gd name="connsiteY2" fmla="*/ 1966 h 10003"/>
              <a:gd name="connsiteX3" fmla="*/ 4360 w 10000"/>
              <a:gd name="connsiteY3" fmla="*/ 6682 h 10003"/>
              <a:gd name="connsiteX4" fmla="*/ 4572 w 10000"/>
              <a:gd name="connsiteY4" fmla="*/ 6669 h 10003"/>
              <a:gd name="connsiteX5" fmla="*/ 5257 w 10000"/>
              <a:gd name="connsiteY5" fmla="*/ 730 h 10003"/>
              <a:gd name="connsiteX6" fmla="*/ 5256 w 10000"/>
              <a:gd name="connsiteY6" fmla="*/ 709 h 10003"/>
              <a:gd name="connsiteX7" fmla="*/ 6798 w 10000"/>
              <a:gd name="connsiteY7" fmla="*/ 3 h 10003"/>
              <a:gd name="connsiteX8" fmla="*/ 7059 w 10000"/>
              <a:gd name="connsiteY8" fmla="*/ 1020 h 10003"/>
              <a:gd name="connsiteX9" fmla="*/ 7467 w 10000"/>
              <a:gd name="connsiteY9" fmla="*/ 5991 h 10003"/>
              <a:gd name="connsiteX10" fmla="*/ 8169 w 10000"/>
              <a:gd name="connsiteY10" fmla="*/ 6006 h 10003"/>
              <a:gd name="connsiteX11" fmla="*/ 8368 w 10000"/>
              <a:gd name="connsiteY11" fmla="*/ 4902 h 10003"/>
              <a:gd name="connsiteX12" fmla="*/ 8499 w 10000"/>
              <a:gd name="connsiteY12" fmla="*/ 5511 h 10003"/>
              <a:gd name="connsiteX13" fmla="*/ 8584 w 10000"/>
              <a:gd name="connsiteY13" fmla="*/ 4965 h 10003"/>
              <a:gd name="connsiteX14" fmla="*/ 8649 w 10000"/>
              <a:gd name="connsiteY14" fmla="*/ 7649 h 10003"/>
              <a:gd name="connsiteX15" fmla="*/ 8716 w 10000"/>
              <a:gd name="connsiteY15" fmla="*/ 6562 h 10003"/>
              <a:gd name="connsiteX16" fmla="*/ 8811 w 10000"/>
              <a:gd name="connsiteY16" fmla="*/ 7786 h 10003"/>
              <a:gd name="connsiteX17" fmla="*/ 8864 w 10000"/>
              <a:gd name="connsiteY17" fmla="*/ 7566 h 10003"/>
              <a:gd name="connsiteX18" fmla="*/ 8890 w 10000"/>
              <a:gd name="connsiteY18" fmla="*/ 7942 h 10003"/>
              <a:gd name="connsiteX19" fmla="*/ 8987 w 10000"/>
              <a:gd name="connsiteY19" fmla="*/ 7955 h 10003"/>
              <a:gd name="connsiteX20" fmla="*/ 8993 w 10000"/>
              <a:gd name="connsiteY20" fmla="*/ 7681 h 10003"/>
              <a:gd name="connsiteX21" fmla="*/ 9106 w 10000"/>
              <a:gd name="connsiteY21" fmla="*/ 7901 h 10003"/>
              <a:gd name="connsiteX22" fmla="*/ 9169 w 10000"/>
              <a:gd name="connsiteY22" fmla="*/ 7805 h 10003"/>
              <a:gd name="connsiteX23" fmla="*/ 9194 w 10000"/>
              <a:gd name="connsiteY23" fmla="*/ 7344 h 10003"/>
              <a:gd name="connsiteX24" fmla="*/ 9229 w 10000"/>
              <a:gd name="connsiteY24" fmla="*/ 7788 h 10003"/>
              <a:gd name="connsiteX25" fmla="*/ 9308 w 10000"/>
              <a:gd name="connsiteY25" fmla="*/ 7558 h 10003"/>
              <a:gd name="connsiteX26" fmla="*/ 9422 w 10000"/>
              <a:gd name="connsiteY26" fmla="*/ 7680 h 10003"/>
              <a:gd name="connsiteX27" fmla="*/ 9482 w 10000"/>
              <a:gd name="connsiteY27" fmla="*/ 7942 h 10003"/>
              <a:gd name="connsiteX28" fmla="*/ 9516 w 10000"/>
              <a:gd name="connsiteY28" fmla="*/ 7703 h 10003"/>
              <a:gd name="connsiteX29" fmla="*/ 9575 w 10000"/>
              <a:gd name="connsiteY29" fmla="*/ 7907 h 10003"/>
              <a:gd name="connsiteX30" fmla="*/ 9615 w 10000"/>
              <a:gd name="connsiteY30" fmla="*/ 7211 h 10003"/>
              <a:gd name="connsiteX31" fmla="*/ 9721 w 10000"/>
              <a:gd name="connsiteY31" fmla="*/ 7883 h 10003"/>
              <a:gd name="connsiteX32" fmla="*/ 9834 w 10000"/>
              <a:gd name="connsiteY32" fmla="*/ 7540 h 10003"/>
              <a:gd name="connsiteX33" fmla="*/ 9836 w 10000"/>
              <a:gd name="connsiteY33" fmla="*/ 7261 h 10003"/>
              <a:gd name="connsiteX34" fmla="*/ 9922 w 10000"/>
              <a:gd name="connsiteY34" fmla="*/ 7573 h 10003"/>
              <a:gd name="connsiteX35" fmla="*/ 10000 w 10000"/>
              <a:gd name="connsiteY35" fmla="*/ 7415 h 10003"/>
              <a:gd name="connsiteX0" fmla="*/ 0 w 10000"/>
              <a:gd name="connsiteY0" fmla="*/ 9460 h 9460"/>
              <a:gd name="connsiteX1" fmla="*/ 795 w 10000"/>
              <a:gd name="connsiteY1" fmla="*/ 1403 h 9460"/>
              <a:gd name="connsiteX2" fmla="*/ 3828 w 10000"/>
              <a:gd name="connsiteY2" fmla="*/ 1423 h 9460"/>
              <a:gd name="connsiteX3" fmla="*/ 4360 w 10000"/>
              <a:gd name="connsiteY3" fmla="*/ 6139 h 9460"/>
              <a:gd name="connsiteX4" fmla="*/ 4572 w 10000"/>
              <a:gd name="connsiteY4" fmla="*/ 6126 h 9460"/>
              <a:gd name="connsiteX5" fmla="*/ 5257 w 10000"/>
              <a:gd name="connsiteY5" fmla="*/ 187 h 9460"/>
              <a:gd name="connsiteX6" fmla="*/ 5256 w 10000"/>
              <a:gd name="connsiteY6" fmla="*/ 166 h 9460"/>
              <a:gd name="connsiteX7" fmla="*/ 7059 w 10000"/>
              <a:gd name="connsiteY7" fmla="*/ 477 h 9460"/>
              <a:gd name="connsiteX8" fmla="*/ 7467 w 10000"/>
              <a:gd name="connsiteY8" fmla="*/ 5448 h 9460"/>
              <a:gd name="connsiteX9" fmla="*/ 8169 w 10000"/>
              <a:gd name="connsiteY9" fmla="*/ 5463 h 9460"/>
              <a:gd name="connsiteX10" fmla="*/ 8368 w 10000"/>
              <a:gd name="connsiteY10" fmla="*/ 4359 h 9460"/>
              <a:gd name="connsiteX11" fmla="*/ 8499 w 10000"/>
              <a:gd name="connsiteY11" fmla="*/ 4968 h 9460"/>
              <a:gd name="connsiteX12" fmla="*/ 8584 w 10000"/>
              <a:gd name="connsiteY12" fmla="*/ 4422 h 9460"/>
              <a:gd name="connsiteX13" fmla="*/ 8649 w 10000"/>
              <a:gd name="connsiteY13" fmla="*/ 7106 h 9460"/>
              <a:gd name="connsiteX14" fmla="*/ 8716 w 10000"/>
              <a:gd name="connsiteY14" fmla="*/ 6019 h 9460"/>
              <a:gd name="connsiteX15" fmla="*/ 8811 w 10000"/>
              <a:gd name="connsiteY15" fmla="*/ 7243 h 9460"/>
              <a:gd name="connsiteX16" fmla="*/ 8864 w 10000"/>
              <a:gd name="connsiteY16" fmla="*/ 7023 h 9460"/>
              <a:gd name="connsiteX17" fmla="*/ 8890 w 10000"/>
              <a:gd name="connsiteY17" fmla="*/ 7399 h 9460"/>
              <a:gd name="connsiteX18" fmla="*/ 8987 w 10000"/>
              <a:gd name="connsiteY18" fmla="*/ 7412 h 9460"/>
              <a:gd name="connsiteX19" fmla="*/ 8993 w 10000"/>
              <a:gd name="connsiteY19" fmla="*/ 7138 h 9460"/>
              <a:gd name="connsiteX20" fmla="*/ 9106 w 10000"/>
              <a:gd name="connsiteY20" fmla="*/ 7358 h 9460"/>
              <a:gd name="connsiteX21" fmla="*/ 9169 w 10000"/>
              <a:gd name="connsiteY21" fmla="*/ 7262 h 9460"/>
              <a:gd name="connsiteX22" fmla="*/ 9194 w 10000"/>
              <a:gd name="connsiteY22" fmla="*/ 6801 h 9460"/>
              <a:gd name="connsiteX23" fmla="*/ 9229 w 10000"/>
              <a:gd name="connsiteY23" fmla="*/ 7245 h 9460"/>
              <a:gd name="connsiteX24" fmla="*/ 9308 w 10000"/>
              <a:gd name="connsiteY24" fmla="*/ 7015 h 9460"/>
              <a:gd name="connsiteX25" fmla="*/ 9422 w 10000"/>
              <a:gd name="connsiteY25" fmla="*/ 7137 h 9460"/>
              <a:gd name="connsiteX26" fmla="*/ 9482 w 10000"/>
              <a:gd name="connsiteY26" fmla="*/ 7399 h 9460"/>
              <a:gd name="connsiteX27" fmla="*/ 9516 w 10000"/>
              <a:gd name="connsiteY27" fmla="*/ 7160 h 9460"/>
              <a:gd name="connsiteX28" fmla="*/ 9575 w 10000"/>
              <a:gd name="connsiteY28" fmla="*/ 7364 h 9460"/>
              <a:gd name="connsiteX29" fmla="*/ 9615 w 10000"/>
              <a:gd name="connsiteY29" fmla="*/ 6668 h 9460"/>
              <a:gd name="connsiteX30" fmla="*/ 9721 w 10000"/>
              <a:gd name="connsiteY30" fmla="*/ 7340 h 9460"/>
              <a:gd name="connsiteX31" fmla="*/ 9834 w 10000"/>
              <a:gd name="connsiteY31" fmla="*/ 6997 h 9460"/>
              <a:gd name="connsiteX32" fmla="*/ 9836 w 10000"/>
              <a:gd name="connsiteY32" fmla="*/ 6718 h 9460"/>
              <a:gd name="connsiteX33" fmla="*/ 9922 w 10000"/>
              <a:gd name="connsiteY33" fmla="*/ 7030 h 9460"/>
              <a:gd name="connsiteX34" fmla="*/ 10000 w 10000"/>
              <a:gd name="connsiteY34" fmla="*/ 6872 h 9460"/>
              <a:gd name="connsiteX0" fmla="*/ 0 w 10000"/>
              <a:gd name="connsiteY0" fmla="*/ 9825 h 9825"/>
              <a:gd name="connsiteX1" fmla="*/ 795 w 10000"/>
              <a:gd name="connsiteY1" fmla="*/ 1308 h 9825"/>
              <a:gd name="connsiteX2" fmla="*/ 3828 w 10000"/>
              <a:gd name="connsiteY2" fmla="*/ 1329 h 9825"/>
              <a:gd name="connsiteX3" fmla="*/ 4360 w 10000"/>
              <a:gd name="connsiteY3" fmla="*/ 6314 h 9825"/>
              <a:gd name="connsiteX4" fmla="*/ 4572 w 10000"/>
              <a:gd name="connsiteY4" fmla="*/ 6301 h 9825"/>
              <a:gd name="connsiteX5" fmla="*/ 5257 w 10000"/>
              <a:gd name="connsiteY5" fmla="*/ 23 h 9825"/>
              <a:gd name="connsiteX6" fmla="*/ 5256 w 10000"/>
              <a:gd name="connsiteY6" fmla="*/ 0 h 9825"/>
              <a:gd name="connsiteX7" fmla="*/ 7059 w 10000"/>
              <a:gd name="connsiteY7" fmla="*/ 329 h 9825"/>
              <a:gd name="connsiteX8" fmla="*/ 7467 w 10000"/>
              <a:gd name="connsiteY8" fmla="*/ 5584 h 9825"/>
              <a:gd name="connsiteX9" fmla="*/ 8169 w 10000"/>
              <a:gd name="connsiteY9" fmla="*/ 5600 h 9825"/>
              <a:gd name="connsiteX10" fmla="*/ 8368 w 10000"/>
              <a:gd name="connsiteY10" fmla="*/ 4433 h 9825"/>
              <a:gd name="connsiteX11" fmla="*/ 8499 w 10000"/>
              <a:gd name="connsiteY11" fmla="*/ 5077 h 9825"/>
              <a:gd name="connsiteX12" fmla="*/ 8584 w 10000"/>
              <a:gd name="connsiteY12" fmla="*/ 4499 h 9825"/>
              <a:gd name="connsiteX13" fmla="*/ 8649 w 10000"/>
              <a:gd name="connsiteY13" fmla="*/ 7337 h 9825"/>
              <a:gd name="connsiteX14" fmla="*/ 8716 w 10000"/>
              <a:gd name="connsiteY14" fmla="*/ 6188 h 9825"/>
              <a:gd name="connsiteX15" fmla="*/ 8811 w 10000"/>
              <a:gd name="connsiteY15" fmla="*/ 7481 h 9825"/>
              <a:gd name="connsiteX16" fmla="*/ 8864 w 10000"/>
              <a:gd name="connsiteY16" fmla="*/ 7249 h 9825"/>
              <a:gd name="connsiteX17" fmla="*/ 8890 w 10000"/>
              <a:gd name="connsiteY17" fmla="*/ 7646 h 9825"/>
              <a:gd name="connsiteX18" fmla="*/ 8987 w 10000"/>
              <a:gd name="connsiteY18" fmla="*/ 7660 h 9825"/>
              <a:gd name="connsiteX19" fmla="*/ 8993 w 10000"/>
              <a:gd name="connsiteY19" fmla="*/ 7370 h 9825"/>
              <a:gd name="connsiteX20" fmla="*/ 9106 w 10000"/>
              <a:gd name="connsiteY20" fmla="*/ 7603 h 9825"/>
              <a:gd name="connsiteX21" fmla="*/ 9169 w 10000"/>
              <a:gd name="connsiteY21" fmla="*/ 7502 h 9825"/>
              <a:gd name="connsiteX22" fmla="*/ 9194 w 10000"/>
              <a:gd name="connsiteY22" fmla="*/ 7014 h 9825"/>
              <a:gd name="connsiteX23" fmla="*/ 9229 w 10000"/>
              <a:gd name="connsiteY23" fmla="*/ 7484 h 9825"/>
              <a:gd name="connsiteX24" fmla="*/ 9308 w 10000"/>
              <a:gd name="connsiteY24" fmla="*/ 7240 h 9825"/>
              <a:gd name="connsiteX25" fmla="*/ 9422 w 10000"/>
              <a:gd name="connsiteY25" fmla="*/ 7369 h 9825"/>
              <a:gd name="connsiteX26" fmla="*/ 9482 w 10000"/>
              <a:gd name="connsiteY26" fmla="*/ 7646 h 9825"/>
              <a:gd name="connsiteX27" fmla="*/ 9516 w 10000"/>
              <a:gd name="connsiteY27" fmla="*/ 7394 h 9825"/>
              <a:gd name="connsiteX28" fmla="*/ 9575 w 10000"/>
              <a:gd name="connsiteY28" fmla="*/ 7609 h 9825"/>
              <a:gd name="connsiteX29" fmla="*/ 9615 w 10000"/>
              <a:gd name="connsiteY29" fmla="*/ 6874 h 9825"/>
              <a:gd name="connsiteX30" fmla="*/ 9721 w 10000"/>
              <a:gd name="connsiteY30" fmla="*/ 7584 h 9825"/>
              <a:gd name="connsiteX31" fmla="*/ 9834 w 10000"/>
              <a:gd name="connsiteY31" fmla="*/ 7221 h 9825"/>
              <a:gd name="connsiteX32" fmla="*/ 9836 w 10000"/>
              <a:gd name="connsiteY32" fmla="*/ 6926 h 9825"/>
              <a:gd name="connsiteX33" fmla="*/ 9922 w 10000"/>
              <a:gd name="connsiteY33" fmla="*/ 7256 h 9825"/>
              <a:gd name="connsiteX34" fmla="*/ 10000 w 10000"/>
              <a:gd name="connsiteY34" fmla="*/ 7089 h 9825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368 w 10000"/>
              <a:gd name="connsiteY10" fmla="*/ 4512 h 10000"/>
              <a:gd name="connsiteX11" fmla="*/ 8499 w 10000"/>
              <a:gd name="connsiteY11" fmla="*/ 5167 h 10000"/>
              <a:gd name="connsiteX12" fmla="*/ 8584 w 10000"/>
              <a:gd name="connsiteY12" fmla="*/ 4579 h 10000"/>
              <a:gd name="connsiteX13" fmla="*/ 8649 w 10000"/>
              <a:gd name="connsiteY13" fmla="*/ 7468 h 10000"/>
              <a:gd name="connsiteX14" fmla="*/ 8716 w 10000"/>
              <a:gd name="connsiteY14" fmla="*/ 6298 h 10000"/>
              <a:gd name="connsiteX15" fmla="*/ 8811 w 10000"/>
              <a:gd name="connsiteY15" fmla="*/ 7614 h 10000"/>
              <a:gd name="connsiteX16" fmla="*/ 8864 w 10000"/>
              <a:gd name="connsiteY16" fmla="*/ 7378 h 10000"/>
              <a:gd name="connsiteX17" fmla="*/ 8890 w 10000"/>
              <a:gd name="connsiteY17" fmla="*/ 7782 h 10000"/>
              <a:gd name="connsiteX18" fmla="*/ 8987 w 10000"/>
              <a:gd name="connsiteY18" fmla="*/ 7796 h 10000"/>
              <a:gd name="connsiteX19" fmla="*/ 8993 w 10000"/>
              <a:gd name="connsiteY19" fmla="*/ 7501 h 10000"/>
              <a:gd name="connsiteX20" fmla="*/ 9106 w 10000"/>
              <a:gd name="connsiteY20" fmla="*/ 7738 h 10000"/>
              <a:gd name="connsiteX21" fmla="*/ 9169 w 10000"/>
              <a:gd name="connsiteY21" fmla="*/ 7636 h 10000"/>
              <a:gd name="connsiteX22" fmla="*/ 9194 w 10000"/>
              <a:gd name="connsiteY22" fmla="*/ 7139 h 10000"/>
              <a:gd name="connsiteX23" fmla="*/ 9229 w 10000"/>
              <a:gd name="connsiteY23" fmla="*/ 7617 h 10000"/>
              <a:gd name="connsiteX24" fmla="*/ 9308 w 10000"/>
              <a:gd name="connsiteY24" fmla="*/ 7369 h 10000"/>
              <a:gd name="connsiteX25" fmla="*/ 9422 w 10000"/>
              <a:gd name="connsiteY25" fmla="*/ 7500 h 10000"/>
              <a:gd name="connsiteX26" fmla="*/ 9482 w 10000"/>
              <a:gd name="connsiteY26" fmla="*/ 7782 h 10000"/>
              <a:gd name="connsiteX27" fmla="*/ 9516 w 10000"/>
              <a:gd name="connsiteY27" fmla="*/ 7526 h 10000"/>
              <a:gd name="connsiteX28" fmla="*/ 9575 w 10000"/>
              <a:gd name="connsiteY28" fmla="*/ 7745 h 10000"/>
              <a:gd name="connsiteX29" fmla="*/ 9615 w 10000"/>
              <a:gd name="connsiteY29" fmla="*/ 6996 h 10000"/>
              <a:gd name="connsiteX30" fmla="*/ 9721 w 10000"/>
              <a:gd name="connsiteY30" fmla="*/ 7719 h 10000"/>
              <a:gd name="connsiteX31" fmla="*/ 9834 w 10000"/>
              <a:gd name="connsiteY31" fmla="*/ 7350 h 10000"/>
              <a:gd name="connsiteX32" fmla="*/ 9836 w 10000"/>
              <a:gd name="connsiteY32" fmla="*/ 7049 h 10000"/>
              <a:gd name="connsiteX33" fmla="*/ 9922 w 10000"/>
              <a:gd name="connsiteY33" fmla="*/ 7385 h 10000"/>
              <a:gd name="connsiteX34" fmla="*/ 10000 w 10000"/>
              <a:gd name="connsiteY34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499 w 10000"/>
              <a:gd name="connsiteY10" fmla="*/ 5167 h 10000"/>
              <a:gd name="connsiteX11" fmla="*/ 8584 w 10000"/>
              <a:gd name="connsiteY11" fmla="*/ 4579 h 10000"/>
              <a:gd name="connsiteX12" fmla="*/ 8649 w 10000"/>
              <a:gd name="connsiteY12" fmla="*/ 7468 h 10000"/>
              <a:gd name="connsiteX13" fmla="*/ 8716 w 10000"/>
              <a:gd name="connsiteY13" fmla="*/ 6298 h 10000"/>
              <a:gd name="connsiteX14" fmla="*/ 8811 w 10000"/>
              <a:gd name="connsiteY14" fmla="*/ 7614 h 10000"/>
              <a:gd name="connsiteX15" fmla="*/ 8864 w 10000"/>
              <a:gd name="connsiteY15" fmla="*/ 7378 h 10000"/>
              <a:gd name="connsiteX16" fmla="*/ 8890 w 10000"/>
              <a:gd name="connsiteY16" fmla="*/ 7782 h 10000"/>
              <a:gd name="connsiteX17" fmla="*/ 8987 w 10000"/>
              <a:gd name="connsiteY17" fmla="*/ 7796 h 10000"/>
              <a:gd name="connsiteX18" fmla="*/ 8993 w 10000"/>
              <a:gd name="connsiteY18" fmla="*/ 7501 h 10000"/>
              <a:gd name="connsiteX19" fmla="*/ 9106 w 10000"/>
              <a:gd name="connsiteY19" fmla="*/ 7738 h 10000"/>
              <a:gd name="connsiteX20" fmla="*/ 9169 w 10000"/>
              <a:gd name="connsiteY20" fmla="*/ 7636 h 10000"/>
              <a:gd name="connsiteX21" fmla="*/ 9194 w 10000"/>
              <a:gd name="connsiteY21" fmla="*/ 7139 h 10000"/>
              <a:gd name="connsiteX22" fmla="*/ 9229 w 10000"/>
              <a:gd name="connsiteY22" fmla="*/ 7617 h 10000"/>
              <a:gd name="connsiteX23" fmla="*/ 9308 w 10000"/>
              <a:gd name="connsiteY23" fmla="*/ 7369 h 10000"/>
              <a:gd name="connsiteX24" fmla="*/ 9422 w 10000"/>
              <a:gd name="connsiteY24" fmla="*/ 7500 h 10000"/>
              <a:gd name="connsiteX25" fmla="*/ 9482 w 10000"/>
              <a:gd name="connsiteY25" fmla="*/ 7782 h 10000"/>
              <a:gd name="connsiteX26" fmla="*/ 9516 w 10000"/>
              <a:gd name="connsiteY26" fmla="*/ 7526 h 10000"/>
              <a:gd name="connsiteX27" fmla="*/ 9575 w 10000"/>
              <a:gd name="connsiteY27" fmla="*/ 7745 h 10000"/>
              <a:gd name="connsiteX28" fmla="*/ 9615 w 10000"/>
              <a:gd name="connsiteY28" fmla="*/ 6996 h 10000"/>
              <a:gd name="connsiteX29" fmla="*/ 9721 w 10000"/>
              <a:gd name="connsiteY29" fmla="*/ 7719 h 10000"/>
              <a:gd name="connsiteX30" fmla="*/ 9834 w 10000"/>
              <a:gd name="connsiteY30" fmla="*/ 7350 h 10000"/>
              <a:gd name="connsiteX31" fmla="*/ 9836 w 10000"/>
              <a:gd name="connsiteY31" fmla="*/ 7049 h 10000"/>
              <a:gd name="connsiteX32" fmla="*/ 9922 w 10000"/>
              <a:gd name="connsiteY32" fmla="*/ 7385 h 10000"/>
              <a:gd name="connsiteX33" fmla="*/ 10000 w 10000"/>
              <a:gd name="connsiteY33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499 w 10000"/>
              <a:gd name="connsiteY10" fmla="*/ 5167 h 10000"/>
              <a:gd name="connsiteX11" fmla="*/ 8649 w 10000"/>
              <a:gd name="connsiteY11" fmla="*/ 7468 h 10000"/>
              <a:gd name="connsiteX12" fmla="*/ 8716 w 10000"/>
              <a:gd name="connsiteY12" fmla="*/ 6298 h 10000"/>
              <a:gd name="connsiteX13" fmla="*/ 8811 w 10000"/>
              <a:gd name="connsiteY13" fmla="*/ 7614 h 10000"/>
              <a:gd name="connsiteX14" fmla="*/ 8864 w 10000"/>
              <a:gd name="connsiteY14" fmla="*/ 7378 h 10000"/>
              <a:gd name="connsiteX15" fmla="*/ 8890 w 10000"/>
              <a:gd name="connsiteY15" fmla="*/ 7782 h 10000"/>
              <a:gd name="connsiteX16" fmla="*/ 8987 w 10000"/>
              <a:gd name="connsiteY16" fmla="*/ 7796 h 10000"/>
              <a:gd name="connsiteX17" fmla="*/ 8993 w 10000"/>
              <a:gd name="connsiteY17" fmla="*/ 7501 h 10000"/>
              <a:gd name="connsiteX18" fmla="*/ 9106 w 10000"/>
              <a:gd name="connsiteY18" fmla="*/ 7738 h 10000"/>
              <a:gd name="connsiteX19" fmla="*/ 9169 w 10000"/>
              <a:gd name="connsiteY19" fmla="*/ 7636 h 10000"/>
              <a:gd name="connsiteX20" fmla="*/ 9194 w 10000"/>
              <a:gd name="connsiteY20" fmla="*/ 7139 h 10000"/>
              <a:gd name="connsiteX21" fmla="*/ 9229 w 10000"/>
              <a:gd name="connsiteY21" fmla="*/ 7617 h 10000"/>
              <a:gd name="connsiteX22" fmla="*/ 9308 w 10000"/>
              <a:gd name="connsiteY22" fmla="*/ 7369 h 10000"/>
              <a:gd name="connsiteX23" fmla="*/ 9422 w 10000"/>
              <a:gd name="connsiteY23" fmla="*/ 7500 h 10000"/>
              <a:gd name="connsiteX24" fmla="*/ 9482 w 10000"/>
              <a:gd name="connsiteY24" fmla="*/ 7782 h 10000"/>
              <a:gd name="connsiteX25" fmla="*/ 9516 w 10000"/>
              <a:gd name="connsiteY25" fmla="*/ 7526 h 10000"/>
              <a:gd name="connsiteX26" fmla="*/ 9575 w 10000"/>
              <a:gd name="connsiteY26" fmla="*/ 7745 h 10000"/>
              <a:gd name="connsiteX27" fmla="*/ 9615 w 10000"/>
              <a:gd name="connsiteY27" fmla="*/ 6996 h 10000"/>
              <a:gd name="connsiteX28" fmla="*/ 9721 w 10000"/>
              <a:gd name="connsiteY28" fmla="*/ 7719 h 10000"/>
              <a:gd name="connsiteX29" fmla="*/ 9834 w 10000"/>
              <a:gd name="connsiteY29" fmla="*/ 7350 h 10000"/>
              <a:gd name="connsiteX30" fmla="*/ 9836 w 10000"/>
              <a:gd name="connsiteY30" fmla="*/ 7049 h 10000"/>
              <a:gd name="connsiteX31" fmla="*/ 9922 w 10000"/>
              <a:gd name="connsiteY31" fmla="*/ 7385 h 10000"/>
              <a:gd name="connsiteX32" fmla="*/ 10000 w 10000"/>
              <a:gd name="connsiteY32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716 w 10000"/>
              <a:gd name="connsiteY11" fmla="*/ 6298 h 10000"/>
              <a:gd name="connsiteX12" fmla="*/ 8811 w 10000"/>
              <a:gd name="connsiteY12" fmla="*/ 7614 h 10000"/>
              <a:gd name="connsiteX13" fmla="*/ 8864 w 10000"/>
              <a:gd name="connsiteY13" fmla="*/ 7378 h 10000"/>
              <a:gd name="connsiteX14" fmla="*/ 8890 w 10000"/>
              <a:gd name="connsiteY14" fmla="*/ 7782 h 10000"/>
              <a:gd name="connsiteX15" fmla="*/ 8987 w 10000"/>
              <a:gd name="connsiteY15" fmla="*/ 7796 h 10000"/>
              <a:gd name="connsiteX16" fmla="*/ 8993 w 10000"/>
              <a:gd name="connsiteY16" fmla="*/ 7501 h 10000"/>
              <a:gd name="connsiteX17" fmla="*/ 9106 w 10000"/>
              <a:gd name="connsiteY17" fmla="*/ 7738 h 10000"/>
              <a:gd name="connsiteX18" fmla="*/ 9169 w 10000"/>
              <a:gd name="connsiteY18" fmla="*/ 7636 h 10000"/>
              <a:gd name="connsiteX19" fmla="*/ 9194 w 10000"/>
              <a:gd name="connsiteY19" fmla="*/ 7139 h 10000"/>
              <a:gd name="connsiteX20" fmla="*/ 9229 w 10000"/>
              <a:gd name="connsiteY20" fmla="*/ 7617 h 10000"/>
              <a:gd name="connsiteX21" fmla="*/ 9308 w 10000"/>
              <a:gd name="connsiteY21" fmla="*/ 7369 h 10000"/>
              <a:gd name="connsiteX22" fmla="*/ 9422 w 10000"/>
              <a:gd name="connsiteY22" fmla="*/ 7500 h 10000"/>
              <a:gd name="connsiteX23" fmla="*/ 9482 w 10000"/>
              <a:gd name="connsiteY23" fmla="*/ 7782 h 10000"/>
              <a:gd name="connsiteX24" fmla="*/ 9516 w 10000"/>
              <a:gd name="connsiteY24" fmla="*/ 7526 h 10000"/>
              <a:gd name="connsiteX25" fmla="*/ 9575 w 10000"/>
              <a:gd name="connsiteY25" fmla="*/ 7745 h 10000"/>
              <a:gd name="connsiteX26" fmla="*/ 9615 w 10000"/>
              <a:gd name="connsiteY26" fmla="*/ 6996 h 10000"/>
              <a:gd name="connsiteX27" fmla="*/ 9721 w 10000"/>
              <a:gd name="connsiteY27" fmla="*/ 7719 h 10000"/>
              <a:gd name="connsiteX28" fmla="*/ 9834 w 10000"/>
              <a:gd name="connsiteY28" fmla="*/ 7350 h 10000"/>
              <a:gd name="connsiteX29" fmla="*/ 9836 w 10000"/>
              <a:gd name="connsiteY29" fmla="*/ 7049 h 10000"/>
              <a:gd name="connsiteX30" fmla="*/ 9922 w 10000"/>
              <a:gd name="connsiteY30" fmla="*/ 7385 h 10000"/>
              <a:gd name="connsiteX31" fmla="*/ 10000 w 10000"/>
              <a:gd name="connsiteY31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864 w 10000"/>
              <a:gd name="connsiteY12" fmla="*/ 7378 h 10000"/>
              <a:gd name="connsiteX13" fmla="*/ 8890 w 10000"/>
              <a:gd name="connsiteY13" fmla="*/ 7782 h 10000"/>
              <a:gd name="connsiteX14" fmla="*/ 8987 w 10000"/>
              <a:gd name="connsiteY14" fmla="*/ 7796 h 10000"/>
              <a:gd name="connsiteX15" fmla="*/ 8993 w 10000"/>
              <a:gd name="connsiteY15" fmla="*/ 7501 h 10000"/>
              <a:gd name="connsiteX16" fmla="*/ 9106 w 10000"/>
              <a:gd name="connsiteY16" fmla="*/ 7738 h 10000"/>
              <a:gd name="connsiteX17" fmla="*/ 9169 w 10000"/>
              <a:gd name="connsiteY17" fmla="*/ 7636 h 10000"/>
              <a:gd name="connsiteX18" fmla="*/ 9194 w 10000"/>
              <a:gd name="connsiteY18" fmla="*/ 7139 h 10000"/>
              <a:gd name="connsiteX19" fmla="*/ 9229 w 10000"/>
              <a:gd name="connsiteY19" fmla="*/ 7617 h 10000"/>
              <a:gd name="connsiteX20" fmla="*/ 9308 w 10000"/>
              <a:gd name="connsiteY20" fmla="*/ 7369 h 10000"/>
              <a:gd name="connsiteX21" fmla="*/ 9422 w 10000"/>
              <a:gd name="connsiteY21" fmla="*/ 7500 h 10000"/>
              <a:gd name="connsiteX22" fmla="*/ 9482 w 10000"/>
              <a:gd name="connsiteY22" fmla="*/ 7782 h 10000"/>
              <a:gd name="connsiteX23" fmla="*/ 9516 w 10000"/>
              <a:gd name="connsiteY23" fmla="*/ 7526 h 10000"/>
              <a:gd name="connsiteX24" fmla="*/ 9575 w 10000"/>
              <a:gd name="connsiteY24" fmla="*/ 7745 h 10000"/>
              <a:gd name="connsiteX25" fmla="*/ 9615 w 10000"/>
              <a:gd name="connsiteY25" fmla="*/ 6996 h 10000"/>
              <a:gd name="connsiteX26" fmla="*/ 9721 w 10000"/>
              <a:gd name="connsiteY26" fmla="*/ 7719 h 10000"/>
              <a:gd name="connsiteX27" fmla="*/ 9834 w 10000"/>
              <a:gd name="connsiteY27" fmla="*/ 7350 h 10000"/>
              <a:gd name="connsiteX28" fmla="*/ 9836 w 10000"/>
              <a:gd name="connsiteY28" fmla="*/ 7049 h 10000"/>
              <a:gd name="connsiteX29" fmla="*/ 9922 w 10000"/>
              <a:gd name="connsiteY29" fmla="*/ 7385 h 10000"/>
              <a:gd name="connsiteX30" fmla="*/ 10000 w 10000"/>
              <a:gd name="connsiteY30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864 w 10000"/>
              <a:gd name="connsiteY12" fmla="*/ 7378 h 10000"/>
              <a:gd name="connsiteX13" fmla="*/ 8890 w 10000"/>
              <a:gd name="connsiteY13" fmla="*/ 7782 h 10000"/>
              <a:gd name="connsiteX14" fmla="*/ 8987 w 10000"/>
              <a:gd name="connsiteY14" fmla="*/ 7796 h 10000"/>
              <a:gd name="connsiteX15" fmla="*/ 8993 w 10000"/>
              <a:gd name="connsiteY15" fmla="*/ 7501 h 10000"/>
              <a:gd name="connsiteX16" fmla="*/ 9106 w 10000"/>
              <a:gd name="connsiteY16" fmla="*/ 7738 h 10000"/>
              <a:gd name="connsiteX17" fmla="*/ 9169 w 10000"/>
              <a:gd name="connsiteY17" fmla="*/ 7636 h 10000"/>
              <a:gd name="connsiteX18" fmla="*/ 9194 w 10000"/>
              <a:gd name="connsiteY18" fmla="*/ 7139 h 10000"/>
              <a:gd name="connsiteX19" fmla="*/ 9229 w 10000"/>
              <a:gd name="connsiteY19" fmla="*/ 7617 h 10000"/>
              <a:gd name="connsiteX20" fmla="*/ 9308 w 10000"/>
              <a:gd name="connsiteY20" fmla="*/ 7369 h 10000"/>
              <a:gd name="connsiteX21" fmla="*/ 9422 w 10000"/>
              <a:gd name="connsiteY21" fmla="*/ 7500 h 10000"/>
              <a:gd name="connsiteX22" fmla="*/ 9482 w 10000"/>
              <a:gd name="connsiteY22" fmla="*/ 7782 h 10000"/>
              <a:gd name="connsiteX23" fmla="*/ 9516 w 10000"/>
              <a:gd name="connsiteY23" fmla="*/ 7526 h 10000"/>
              <a:gd name="connsiteX24" fmla="*/ 9575 w 10000"/>
              <a:gd name="connsiteY24" fmla="*/ 7745 h 10000"/>
              <a:gd name="connsiteX25" fmla="*/ 9615 w 10000"/>
              <a:gd name="connsiteY25" fmla="*/ 6996 h 10000"/>
              <a:gd name="connsiteX26" fmla="*/ 9721 w 10000"/>
              <a:gd name="connsiteY26" fmla="*/ 7719 h 10000"/>
              <a:gd name="connsiteX27" fmla="*/ 9834 w 10000"/>
              <a:gd name="connsiteY27" fmla="*/ 7350 h 10000"/>
              <a:gd name="connsiteX28" fmla="*/ 9922 w 10000"/>
              <a:gd name="connsiteY28" fmla="*/ 7385 h 10000"/>
              <a:gd name="connsiteX29" fmla="*/ 10000 w 10000"/>
              <a:gd name="connsiteY29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864 w 10000"/>
              <a:gd name="connsiteY12" fmla="*/ 7378 h 10000"/>
              <a:gd name="connsiteX13" fmla="*/ 8890 w 10000"/>
              <a:gd name="connsiteY13" fmla="*/ 7782 h 10000"/>
              <a:gd name="connsiteX14" fmla="*/ 8987 w 10000"/>
              <a:gd name="connsiteY14" fmla="*/ 7796 h 10000"/>
              <a:gd name="connsiteX15" fmla="*/ 8993 w 10000"/>
              <a:gd name="connsiteY15" fmla="*/ 7501 h 10000"/>
              <a:gd name="connsiteX16" fmla="*/ 9106 w 10000"/>
              <a:gd name="connsiteY16" fmla="*/ 7738 h 10000"/>
              <a:gd name="connsiteX17" fmla="*/ 9169 w 10000"/>
              <a:gd name="connsiteY17" fmla="*/ 7636 h 10000"/>
              <a:gd name="connsiteX18" fmla="*/ 9194 w 10000"/>
              <a:gd name="connsiteY18" fmla="*/ 7139 h 10000"/>
              <a:gd name="connsiteX19" fmla="*/ 9229 w 10000"/>
              <a:gd name="connsiteY19" fmla="*/ 7617 h 10000"/>
              <a:gd name="connsiteX20" fmla="*/ 9308 w 10000"/>
              <a:gd name="connsiteY20" fmla="*/ 7369 h 10000"/>
              <a:gd name="connsiteX21" fmla="*/ 9422 w 10000"/>
              <a:gd name="connsiteY21" fmla="*/ 7500 h 10000"/>
              <a:gd name="connsiteX22" fmla="*/ 9482 w 10000"/>
              <a:gd name="connsiteY22" fmla="*/ 7782 h 10000"/>
              <a:gd name="connsiteX23" fmla="*/ 9516 w 10000"/>
              <a:gd name="connsiteY23" fmla="*/ 7526 h 10000"/>
              <a:gd name="connsiteX24" fmla="*/ 9575 w 10000"/>
              <a:gd name="connsiteY24" fmla="*/ 7745 h 10000"/>
              <a:gd name="connsiteX25" fmla="*/ 9721 w 10000"/>
              <a:gd name="connsiteY25" fmla="*/ 7719 h 10000"/>
              <a:gd name="connsiteX26" fmla="*/ 9834 w 10000"/>
              <a:gd name="connsiteY26" fmla="*/ 7350 h 10000"/>
              <a:gd name="connsiteX27" fmla="*/ 9922 w 10000"/>
              <a:gd name="connsiteY27" fmla="*/ 7385 h 10000"/>
              <a:gd name="connsiteX28" fmla="*/ 10000 w 10000"/>
              <a:gd name="connsiteY28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864 w 10000"/>
              <a:gd name="connsiteY12" fmla="*/ 7378 h 10000"/>
              <a:gd name="connsiteX13" fmla="*/ 8890 w 10000"/>
              <a:gd name="connsiteY13" fmla="*/ 7782 h 10000"/>
              <a:gd name="connsiteX14" fmla="*/ 8987 w 10000"/>
              <a:gd name="connsiteY14" fmla="*/ 7796 h 10000"/>
              <a:gd name="connsiteX15" fmla="*/ 8993 w 10000"/>
              <a:gd name="connsiteY15" fmla="*/ 7501 h 10000"/>
              <a:gd name="connsiteX16" fmla="*/ 9106 w 10000"/>
              <a:gd name="connsiteY16" fmla="*/ 7738 h 10000"/>
              <a:gd name="connsiteX17" fmla="*/ 9169 w 10000"/>
              <a:gd name="connsiteY17" fmla="*/ 7636 h 10000"/>
              <a:gd name="connsiteX18" fmla="*/ 9229 w 10000"/>
              <a:gd name="connsiteY18" fmla="*/ 7617 h 10000"/>
              <a:gd name="connsiteX19" fmla="*/ 9308 w 10000"/>
              <a:gd name="connsiteY19" fmla="*/ 7369 h 10000"/>
              <a:gd name="connsiteX20" fmla="*/ 9422 w 10000"/>
              <a:gd name="connsiteY20" fmla="*/ 7500 h 10000"/>
              <a:gd name="connsiteX21" fmla="*/ 9482 w 10000"/>
              <a:gd name="connsiteY21" fmla="*/ 7782 h 10000"/>
              <a:gd name="connsiteX22" fmla="*/ 9516 w 10000"/>
              <a:gd name="connsiteY22" fmla="*/ 7526 h 10000"/>
              <a:gd name="connsiteX23" fmla="*/ 9575 w 10000"/>
              <a:gd name="connsiteY23" fmla="*/ 7745 h 10000"/>
              <a:gd name="connsiteX24" fmla="*/ 9721 w 10000"/>
              <a:gd name="connsiteY24" fmla="*/ 7719 h 10000"/>
              <a:gd name="connsiteX25" fmla="*/ 9834 w 10000"/>
              <a:gd name="connsiteY25" fmla="*/ 7350 h 10000"/>
              <a:gd name="connsiteX26" fmla="*/ 9922 w 10000"/>
              <a:gd name="connsiteY26" fmla="*/ 7385 h 10000"/>
              <a:gd name="connsiteX27" fmla="*/ 10000 w 10000"/>
              <a:gd name="connsiteY27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864 w 10000"/>
              <a:gd name="connsiteY12" fmla="*/ 7378 h 10000"/>
              <a:gd name="connsiteX13" fmla="*/ 8890 w 10000"/>
              <a:gd name="connsiteY13" fmla="*/ 7782 h 10000"/>
              <a:gd name="connsiteX14" fmla="*/ 8987 w 10000"/>
              <a:gd name="connsiteY14" fmla="*/ 7796 h 10000"/>
              <a:gd name="connsiteX15" fmla="*/ 8993 w 10000"/>
              <a:gd name="connsiteY15" fmla="*/ 7501 h 10000"/>
              <a:gd name="connsiteX16" fmla="*/ 9106 w 10000"/>
              <a:gd name="connsiteY16" fmla="*/ 7738 h 10000"/>
              <a:gd name="connsiteX17" fmla="*/ 9169 w 10000"/>
              <a:gd name="connsiteY17" fmla="*/ 7636 h 10000"/>
              <a:gd name="connsiteX18" fmla="*/ 9229 w 10000"/>
              <a:gd name="connsiteY18" fmla="*/ 7617 h 10000"/>
              <a:gd name="connsiteX19" fmla="*/ 9422 w 10000"/>
              <a:gd name="connsiteY19" fmla="*/ 7500 h 10000"/>
              <a:gd name="connsiteX20" fmla="*/ 9482 w 10000"/>
              <a:gd name="connsiteY20" fmla="*/ 7782 h 10000"/>
              <a:gd name="connsiteX21" fmla="*/ 9516 w 10000"/>
              <a:gd name="connsiteY21" fmla="*/ 7526 h 10000"/>
              <a:gd name="connsiteX22" fmla="*/ 9575 w 10000"/>
              <a:gd name="connsiteY22" fmla="*/ 7745 h 10000"/>
              <a:gd name="connsiteX23" fmla="*/ 9721 w 10000"/>
              <a:gd name="connsiteY23" fmla="*/ 7719 h 10000"/>
              <a:gd name="connsiteX24" fmla="*/ 9834 w 10000"/>
              <a:gd name="connsiteY24" fmla="*/ 7350 h 10000"/>
              <a:gd name="connsiteX25" fmla="*/ 9922 w 10000"/>
              <a:gd name="connsiteY25" fmla="*/ 7385 h 10000"/>
              <a:gd name="connsiteX26" fmla="*/ 10000 w 10000"/>
              <a:gd name="connsiteY26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864 w 10000"/>
              <a:gd name="connsiteY12" fmla="*/ 7378 h 10000"/>
              <a:gd name="connsiteX13" fmla="*/ 8890 w 10000"/>
              <a:gd name="connsiteY13" fmla="*/ 7782 h 10000"/>
              <a:gd name="connsiteX14" fmla="*/ 8987 w 10000"/>
              <a:gd name="connsiteY14" fmla="*/ 7796 h 10000"/>
              <a:gd name="connsiteX15" fmla="*/ 8993 w 10000"/>
              <a:gd name="connsiteY15" fmla="*/ 7501 h 10000"/>
              <a:gd name="connsiteX16" fmla="*/ 9106 w 10000"/>
              <a:gd name="connsiteY16" fmla="*/ 7738 h 10000"/>
              <a:gd name="connsiteX17" fmla="*/ 9169 w 10000"/>
              <a:gd name="connsiteY17" fmla="*/ 7636 h 10000"/>
              <a:gd name="connsiteX18" fmla="*/ 9229 w 10000"/>
              <a:gd name="connsiteY18" fmla="*/ 7617 h 10000"/>
              <a:gd name="connsiteX19" fmla="*/ 9422 w 10000"/>
              <a:gd name="connsiteY19" fmla="*/ 7500 h 10000"/>
              <a:gd name="connsiteX20" fmla="*/ 9516 w 10000"/>
              <a:gd name="connsiteY20" fmla="*/ 7526 h 10000"/>
              <a:gd name="connsiteX21" fmla="*/ 9575 w 10000"/>
              <a:gd name="connsiteY21" fmla="*/ 7745 h 10000"/>
              <a:gd name="connsiteX22" fmla="*/ 9721 w 10000"/>
              <a:gd name="connsiteY22" fmla="*/ 7719 h 10000"/>
              <a:gd name="connsiteX23" fmla="*/ 9834 w 10000"/>
              <a:gd name="connsiteY23" fmla="*/ 7350 h 10000"/>
              <a:gd name="connsiteX24" fmla="*/ 9922 w 10000"/>
              <a:gd name="connsiteY24" fmla="*/ 7385 h 10000"/>
              <a:gd name="connsiteX25" fmla="*/ 10000 w 10000"/>
              <a:gd name="connsiteY25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864 w 10000"/>
              <a:gd name="connsiteY12" fmla="*/ 7378 h 10000"/>
              <a:gd name="connsiteX13" fmla="*/ 8890 w 10000"/>
              <a:gd name="connsiteY13" fmla="*/ 7782 h 10000"/>
              <a:gd name="connsiteX14" fmla="*/ 8987 w 10000"/>
              <a:gd name="connsiteY14" fmla="*/ 7796 h 10000"/>
              <a:gd name="connsiteX15" fmla="*/ 8993 w 10000"/>
              <a:gd name="connsiteY15" fmla="*/ 7501 h 10000"/>
              <a:gd name="connsiteX16" fmla="*/ 9106 w 10000"/>
              <a:gd name="connsiteY16" fmla="*/ 7738 h 10000"/>
              <a:gd name="connsiteX17" fmla="*/ 9169 w 10000"/>
              <a:gd name="connsiteY17" fmla="*/ 7636 h 10000"/>
              <a:gd name="connsiteX18" fmla="*/ 9229 w 10000"/>
              <a:gd name="connsiteY18" fmla="*/ 7617 h 10000"/>
              <a:gd name="connsiteX19" fmla="*/ 9422 w 10000"/>
              <a:gd name="connsiteY19" fmla="*/ 7500 h 10000"/>
              <a:gd name="connsiteX20" fmla="*/ 9575 w 10000"/>
              <a:gd name="connsiteY20" fmla="*/ 7745 h 10000"/>
              <a:gd name="connsiteX21" fmla="*/ 9721 w 10000"/>
              <a:gd name="connsiteY21" fmla="*/ 7719 h 10000"/>
              <a:gd name="connsiteX22" fmla="*/ 9834 w 10000"/>
              <a:gd name="connsiteY22" fmla="*/ 7350 h 10000"/>
              <a:gd name="connsiteX23" fmla="*/ 9922 w 10000"/>
              <a:gd name="connsiteY23" fmla="*/ 7385 h 10000"/>
              <a:gd name="connsiteX24" fmla="*/ 10000 w 10000"/>
              <a:gd name="connsiteY24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864 w 10000"/>
              <a:gd name="connsiteY12" fmla="*/ 7378 h 10000"/>
              <a:gd name="connsiteX13" fmla="*/ 8890 w 10000"/>
              <a:gd name="connsiteY13" fmla="*/ 7782 h 10000"/>
              <a:gd name="connsiteX14" fmla="*/ 8987 w 10000"/>
              <a:gd name="connsiteY14" fmla="*/ 7796 h 10000"/>
              <a:gd name="connsiteX15" fmla="*/ 8993 w 10000"/>
              <a:gd name="connsiteY15" fmla="*/ 7501 h 10000"/>
              <a:gd name="connsiteX16" fmla="*/ 9106 w 10000"/>
              <a:gd name="connsiteY16" fmla="*/ 7738 h 10000"/>
              <a:gd name="connsiteX17" fmla="*/ 9169 w 10000"/>
              <a:gd name="connsiteY17" fmla="*/ 7636 h 10000"/>
              <a:gd name="connsiteX18" fmla="*/ 9229 w 10000"/>
              <a:gd name="connsiteY18" fmla="*/ 7617 h 10000"/>
              <a:gd name="connsiteX19" fmla="*/ 9422 w 10000"/>
              <a:gd name="connsiteY19" fmla="*/ 7500 h 10000"/>
              <a:gd name="connsiteX20" fmla="*/ 9721 w 10000"/>
              <a:gd name="connsiteY20" fmla="*/ 7719 h 10000"/>
              <a:gd name="connsiteX21" fmla="*/ 9834 w 10000"/>
              <a:gd name="connsiteY21" fmla="*/ 7350 h 10000"/>
              <a:gd name="connsiteX22" fmla="*/ 9922 w 10000"/>
              <a:gd name="connsiteY22" fmla="*/ 7385 h 10000"/>
              <a:gd name="connsiteX23" fmla="*/ 10000 w 10000"/>
              <a:gd name="connsiteY23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864 w 10000"/>
              <a:gd name="connsiteY12" fmla="*/ 7378 h 10000"/>
              <a:gd name="connsiteX13" fmla="*/ 8890 w 10000"/>
              <a:gd name="connsiteY13" fmla="*/ 7782 h 10000"/>
              <a:gd name="connsiteX14" fmla="*/ 8987 w 10000"/>
              <a:gd name="connsiteY14" fmla="*/ 7796 h 10000"/>
              <a:gd name="connsiteX15" fmla="*/ 8993 w 10000"/>
              <a:gd name="connsiteY15" fmla="*/ 7501 h 10000"/>
              <a:gd name="connsiteX16" fmla="*/ 9106 w 10000"/>
              <a:gd name="connsiteY16" fmla="*/ 7738 h 10000"/>
              <a:gd name="connsiteX17" fmla="*/ 9169 w 10000"/>
              <a:gd name="connsiteY17" fmla="*/ 7636 h 10000"/>
              <a:gd name="connsiteX18" fmla="*/ 9229 w 10000"/>
              <a:gd name="connsiteY18" fmla="*/ 7617 h 10000"/>
              <a:gd name="connsiteX19" fmla="*/ 9422 w 10000"/>
              <a:gd name="connsiteY19" fmla="*/ 7500 h 10000"/>
              <a:gd name="connsiteX20" fmla="*/ 9834 w 10000"/>
              <a:gd name="connsiteY20" fmla="*/ 7350 h 10000"/>
              <a:gd name="connsiteX21" fmla="*/ 9922 w 10000"/>
              <a:gd name="connsiteY21" fmla="*/ 7385 h 10000"/>
              <a:gd name="connsiteX22" fmla="*/ 10000 w 10000"/>
              <a:gd name="connsiteY22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890 w 10000"/>
              <a:gd name="connsiteY12" fmla="*/ 7782 h 10000"/>
              <a:gd name="connsiteX13" fmla="*/ 8987 w 10000"/>
              <a:gd name="connsiteY13" fmla="*/ 7796 h 10000"/>
              <a:gd name="connsiteX14" fmla="*/ 8993 w 10000"/>
              <a:gd name="connsiteY14" fmla="*/ 7501 h 10000"/>
              <a:gd name="connsiteX15" fmla="*/ 9106 w 10000"/>
              <a:gd name="connsiteY15" fmla="*/ 7738 h 10000"/>
              <a:gd name="connsiteX16" fmla="*/ 9169 w 10000"/>
              <a:gd name="connsiteY16" fmla="*/ 7636 h 10000"/>
              <a:gd name="connsiteX17" fmla="*/ 9229 w 10000"/>
              <a:gd name="connsiteY17" fmla="*/ 7617 h 10000"/>
              <a:gd name="connsiteX18" fmla="*/ 9422 w 10000"/>
              <a:gd name="connsiteY18" fmla="*/ 7500 h 10000"/>
              <a:gd name="connsiteX19" fmla="*/ 9834 w 10000"/>
              <a:gd name="connsiteY19" fmla="*/ 7350 h 10000"/>
              <a:gd name="connsiteX20" fmla="*/ 9922 w 10000"/>
              <a:gd name="connsiteY20" fmla="*/ 7385 h 10000"/>
              <a:gd name="connsiteX21" fmla="*/ 10000 w 10000"/>
              <a:gd name="connsiteY21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987 w 10000"/>
              <a:gd name="connsiteY12" fmla="*/ 7796 h 10000"/>
              <a:gd name="connsiteX13" fmla="*/ 8993 w 10000"/>
              <a:gd name="connsiteY13" fmla="*/ 7501 h 10000"/>
              <a:gd name="connsiteX14" fmla="*/ 9106 w 10000"/>
              <a:gd name="connsiteY14" fmla="*/ 7738 h 10000"/>
              <a:gd name="connsiteX15" fmla="*/ 9169 w 10000"/>
              <a:gd name="connsiteY15" fmla="*/ 7636 h 10000"/>
              <a:gd name="connsiteX16" fmla="*/ 9229 w 10000"/>
              <a:gd name="connsiteY16" fmla="*/ 7617 h 10000"/>
              <a:gd name="connsiteX17" fmla="*/ 9422 w 10000"/>
              <a:gd name="connsiteY17" fmla="*/ 7500 h 10000"/>
              <a:gd name="connsiteX18" fmla="*/ 9834 w 10000"/>
              <a:gd name="connsiteY18" fmla="*/ 7350 h 10000"/>
              <a:gd name="connsiteX19" fmla="*/ 9922 w 10000"/>
              <a:gd name="connsiteY19" fmla="*/ 7385 h 10000"/>
              <a:gd name="connsiteX20" fmla="*/ 10000 w 10000"/>
              <a:gd name="connsiteY20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987 w 10000"/>
              <a:gd name="connsiteY12" fmla="*/ 7796 h 10000"/>
              <a:gd name="connsiteX13" fmla="*/ 9106 w 10000"/>
              <a:gd name="connsiteY13" fmla="*/ 7738 h 10000"/>
              <a:gd name="connsiteX14" fmla="*/ 9169 w 10000"/>
              <a:gd name="connsiteY14" fmla="*/ 7636 h 10000"/>
              <a:gd name="connsiteX15" fmla="*/ 9229 w 10000"/>
              <a:gd name="connsiteY15" fmla="*/ 7617 h 10000"/>
              <a:gd name="connsiteX16" fmla="*/ 9422 w 10000"/>
              <a:gd name="connsiteY16" fmla="*/ 7500 h 10000"/>
              <a:gd name="connsiteX17" fmla="*/ 9834 w 10000"/>
              <a:gd name="connsiteY17" fmla="*/ 7350 h 10000"/>
              <a:gd name="connsiteX18" fmla="*/ 9922 w 10000"/>
              <a:gd name="connsiteY18" fmla="*/ 7385 h 10000"/>
              <a:gd name="connsiteX19" fmla="*/ 10000 w 10000"/>
              <a:gd name="connsiteY19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987 w 10000"/>
              <a:gd name="connsiteY12" fmla="*/ 7796 h 10000"/>
              <a:gd name="connsiteX13" fmla="*/ 9106 w 10000"/>
              <a:gd name="connsiteY13" fmla="*/ 7738 h 10000"/>
              <a:gd name="connsiteX14" fmla="*/ 9229 w 10000"/>
              <a:gd name="connsiteY14" fmla="*/ 7617 h 10000"/>
              <a:gd name="connsiteX15" fmla="*/ 9422 w 10000"/>
              <a:gd name="connsiteY15" fmla="*/ 7500 h 10000"/>
              <a:gd name="connsiteX16" fmla="*/ 9834 w 10000"/>
              <a:gd name="connsiteY16" fmla="*/ 7350 h 10000"/>
              <a:gd name="connsiteX17" fmla="*/ 9922 w 10000"/>
              <a:gd name="connsiteY17" fmla="*/ 7385 h 10000"/>
              <a:gd name="connsiteX18" fmla="*/ 10000 w 10000"/>
              <a:gd name="connsiteY18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987 w 10000"/>
              <a:gd name="connsiteY12" fmla="*/ 7796 h 10000"/>
              <a:gd name="connsiteX13" fmla="*/ 9106 w 10000"/>
              <a:gd name="connsiteY13" fmla="*/ 7738 h 10000"/>
              <a:gd name="connsiteX14" fmla="*/ 9422 w 10000"/>
              <a:gd name="connsiteY14" fmla="*/ 7500 h 10000"/>
              <a:gd name="connsiteX15" fmla="*/ 9834 w 10000"/>
              <a:gd name="connsiteY15" fmla="*/ 7350 h 10000"/>
              <a:gd name="connsiteX16" fmla="*/ 9922 w 10000"/>
              <a:gd name="connsiteY16" fmla="*/ 7385 h 10000"/>
              <a:gd name="connsiteX17" fmla="*/ 10000 w 10000"/>
              <a:gd name="connsiteY17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811 w 10000"/>
              <a:gd name="connsiteY11" fmla="*/ 7614 h 10000"/>
              <a:gd name="connsiteX12" fmla="*/ 8987 w 10000"/>
              <a:gd name="connsiteY12" fmla="*/ 7796 h 10000"/>
              <a:gd name="connsiteX13" fmla="*/ 9422 w 10000"/>
              <a:gd name="connsiteY13" fmla="*/ 7500 h 10000"/>
              <a:gd name="connsiteX14" fmla="*/ 9834 w 10000"/>
              <a:gd name="connsiteY14" fmla="*/ 7350 h 10000"/>
              <a:gd name="connsiteX15" fmla="*/ 9922 w 10000"/>
              <a:gd name="connsiteY15" fmla="*/ 7385 h 10000"/>
              <a:gd name="connsiteX16" fmla="*/ 10000 w 10000"/>
              <a:gd name="connsiteY16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8987 w 10000"/>
              <a:gd name="connsiteY11" fmla="*/ 7796 h 10000"/>
              <a:gd name="connsiteX12" fmla="*/ 9422 w 10000"/>
              <a:gd name="connsiteY12" fmla="*/ 7500 h 10000"/>
              <a:gd name="connsiteX13" fmla="*/ 9834 w 10000"/>
              <a:gd name="connsiteY13" fmla="*/ 7350 h 10000"/>
              <a:gd name="connsiteX14" fmla="*/ 9922 w 10000"/>
              <a:gd name="connsiteY14" fmla="*/ 7385 h 10000"/>
              <a:gd name="connsiteX15" fmla="*/ 10000 w 10000"/>
              <a:gd name="connsiteY15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9422 w 10000"/>
              <a:gd name="connsiteY11" fmla="*/ 7500 h 10000"/>
              <a:gd name="connsiteX12" fmla="*/ 9834 w 10000"/>
              <a:gd name="connsiteY12" fmla="*/ 7350 h 10000"/>
              <a:gd name="connsiteX13" fmla="*/ 9922 w 10000"/>
              <a:gd name="connsiteY13" fmla="*/ 7385 h 10000"/>
              <a:gd name="connsiteX14" fmla="*/ 10000 w 10000"/>
              <a:gd name="connsiteY14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9834 w 10000"/>
              <a:gd name="connsiteY11" fmla="*/ 7350 h 10000"/>
              <a:gd name="connsiteX12" fmla="*/ 9922 w 10000"/>
              <a:gd name="connsiteY12" fmla="*/ 7385 h 10000"/>
              <a:gd name="connsiteX13" fmla="*/ 10000 w 10000"/>
              <a:gd name="connsiteY13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9922 w 10000"/>
              <a:gd name="connsiteY11" fmla="*/ 7385 h 10000"/>
              <a:gd name="connsiteX12" fmla="*/ 10000 w 10000"/>
              <a:gd name="connsiteY12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10000 w 10000"/>
              <a:gd name="connsiteY11" fmla="*/ 7215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10000 w 10000"/>
              <a:gd name="connsiteY11" fmla="*/ 7437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10000 w 10000"/>
              <a:gd name="connsiteY11" fmla="*/ 7437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169 w 10000"/>
              <a:gd name="connsiteY9" fmla="*/ 5700 h 10000"/>
              <a:gd name="connsiteX10" fmla="*/ 8649 w 10000"/>
              <a:gd name="connsiteY10" fmla="*/ 7468 h 10000"/>
              <a:gd name="connsiteX11" fmla="*/ 10000 w 10000"/>
              <a:gd name="connsiteY11" fmla="*/ 7437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598 w 10000"/>
              <a:gd name="connsiteY9" fmla="*/ 5672 h 10000"/>
              <a:gd name="connsiteX10" fmla="*/ 8649 w 10000"/>
              <a:gd name="connsiteY10" fmla="*/ 7468 h 10000"/>
              <a:gd name="connsiteX11" fmla="*/ 10000 w 10000"/>
              <a:gd name="connsiteY11" fmla="*/ 7437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598 w 10000"/>
              <a:gd name="connsiteY9" fmla="*/ 5672 h 10000"/>
              <a:gd name="connsiteX10" fmla="*/ 8887 w 10000"/>
              <a:gd name="connsiteY10" fmla="*/ 7468 h 10000"/>
              <a:gd name="connsiteX11" fmla="*/ 10000 w 10000"/>
              <a:gd name="connsiteY11" fmla="*/ 7437 h 10000"/>
              <a:gd name="connsiteX0" fmla="*/ 0 w 10000"/>
              <a:gd name="connsiteY0" fmla="*/ 10000 h 10000"/>
              <a:gd name="connsiteX1" fmla="*/ 795 w 10000"/>
              <a:gd name="connsiteY1" fmla="*/ 1331 h 10000"/>
              <a:gd name="connsiteX2" fmla="*/ 3828 w 10000"/>
              <a:gd name="connsiteY2" fmla="*/ 1353 h 10000"/>
              <a:gd name="connsiteX3" fmla="*/ 4360 w 10000"/>
              <a:gd name="connsiteY3" fmla="*/ 6426 h 10000"/>
              <a:gd name="connsiteX4" fmla="*/ 4572 w 10000"/>
              <a:gd name="connsiteY4" fmla="*/ 6413 h 10000"/>
              <a:gd name="connsiteX5" fmla="*/ 5257 w 10000"/>
              <a:gd name="connsiteY5" fmla="*/ 23 h 10000"/>
              <a:gd name="connsiteX6" fmla="*/ 5256 w 10000"/>
              <a:gd name="connsiteY6" fmla="*/ 0 h 10000"/>
              <a:gd name="connsiteX7" fmla="*/ 7035 w 10000"/>
              <a:gd name="connsiteY7" fmla="*/ 29 h 10000"/>
              <a:gd name="connsiteX8" fmla="*/ 7467 w 10000"/>
              <a:gd name="connsiteY8" fmla="*/ 5683 h 10000"/>
              <a:gd name="connsiteX9" fmla="*/ 8598 w 10000"/>
              <a:gd name="connsiteY9" fmla="*/ 5672 h 10000"/>
              <a:gd name="connsiteX10" fmla="*/ 8887 w 10000"/>
              <a:gd name="connsiteY10" fmla="*/ 7468 h 10000"/>
              <a:gd name="connsiteX11" fmla="*/ 10000 w 10000"/>
              <a:gd name="connsiteY11" fmla="*/ 743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cubicBezTo>
                  <a:pt x="265" y="7148"/>
                  <a:pt x="530" y="4183"/>
                  <a:pt x="795" y="1331"/>
                </a:cubicBezTo>
                <a:lnTo>
                  <a:pt x="3828" y="1353"/>
                </a:lnTo>
                <a:cubicBezTo>
                  <a:pt x="4005" y="3044"/>
                  <a:pt x="4183" y="4736"/>
                  <a:pt x="4360" y="6426"/>
                </a:cubicBezTo>
                <a:cubicBezTo>
                  <a:pt x="4453" y="6426"/>
                  <a:pt x="4479" y="6413"/>
                  <a:pt x="4572" y="6413"/>
                </a:cubicBezTo>
                <a:cubicBezTo>
                  <a:pt x="4742" y="4250"/>
                  <a:pt x="5045" y="2178"/>
                  <a:pt x="5257" y="23"/>
                </a:cubicBezTo>
                <a:cubicBezTo>
                  <a:pt x="5265" y="15"/>
                  <a:pt x="5248" y="8"/>
                  <a:pt x="5256" y="0"/>
                </a:cubicBezTo>
                <a:lnTo>
                  <a:pt x="7035" y="29"/>
                </a:lnTo>
                <a:cubicBezTo>
                  <a:pt x="7167" y="1877"/>
                  <a:pt x="7337" y="4017"/>
                  <a:pt x="7467" y="5683"/>
                </a:cubicBezTo>
                <a:lnTo>
                  <a:pt x="8598" y="5672"/>
                </a:lnTo>
                <a:cubicBezTo>
                  <a:pt x="8694" y="6271"/>
                  <a:pt x="8791" y="6869"/>
                  <a:pt x="8887" y="7468"/>
                </a:cubicBezTo>
                <a:lnTo>
                  <a:pt x="10000" y="7437"/>
                </a:lnTo>
              </a:path>
            </a:pathLst>
          </a:custGeom>
          <a:noFill/>
          <a:ln w="33338" cap="flat">
            <a:solidFill>
              <a:srgbClr val="AF235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200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6732223" y="5026491"/>
            <a:ext cx="2283277" cy="215444"/>
            <a:chOff x="4518300" y="5003049"/>
            <a:chExt cx="2283276" cy="215443"/>
          </a:xfrm>
        </p:grpSpPr>
        <p:sp>
          <p:nvSpPr>
            <p:cNvPr id="72" name="Rechteck 71"/>
            <p:cNvSpPr>
              <a:spLocks/>
            </p:cNvSpPr>
            <p:nvPr/>
          </p:nvSpPr>
          <p:spPr bwMode="gray">
            <a:xfrm>
              <a:off x="4789049" y="5003049"/>
              <a:ext cx="2012527" cy="215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de-DE" sz="1400" dirty="0">
                  <a:solidFill>
                    <a:srgbClr val="3C464B"/>
                  </a:solidFill>
                  <a:latin typeface="+mn-lt"/>
                </a:rPr>
                <a:t>Plant operation line</a:t>
              </a:r>
              <a:endParaRPr lang="en-US" sz="1400" dirty="0">
                <a:solidFill>
                  <a:srgbClr val="3C464B"/>
                </a:solidFill>
                <a:latin typeface="+mn-lt"/>
              </a:endParaRPr>
            </a:p>
          </p:txBody>
        </p:sp>
        <p:cxnSp>
          <p:nvCxnSpPr>
            <p:cNvPr id="73" name="Gerade Verbindung 2"/>
            <p:cNvCxnSpPr>
              <a:cxnSpLocks noChangeShapeType="1"/>
            </p:cNvCxnSpPr>
            <p:nvPr/>
          </p:nvCxnSpPr>
          <p:spPr bwMode="gray">
            <a:xfrm flipH="1" flipV="1">
              <a:off x="4518300" y="5100243"/>
              <a:ext cx="212555" cy="0"/>
            </a:xfrm>
            <a:prstGeom prst="line">
              <a:avLst/>
            </a:prstGeom>
            <a:noFill/>
            <a:ln w="57150" algn="ctr">
              <a:solidFill>
                <a:srgbClr val="AF235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5" name="Freeform 5"/>
          <p:cNvSpPr>
            <a:spLocks/>
          </p:cNvSpPr>
          <p:nvPr/>
        </p:nvSpPr>
        <p:spPr bwMode="auto">
          <a:xfrm>
            <a:off x="1994719" y="2062139"/>
            <a:ext cx="9425346" cy="2836248"/>
          </a:xfrm>
          <a:custGeom>
            <a:avLst/>
            <a:gdLst>
              <a:gd name="T0" fmla="*/ 0 w 6989"/>
              <a:gd name="T1" fmla="*/ 1157 h 2134"/>
              <a:gd name="T2" fmla="*/ 312 w 6989"/>
              <a:gd name="T3" fmla="*/ 436 h 2134"/>
              <a:gd name="T4" fmla="*/ 586 w 6989"/>
              <a:gd name="T5" fmla="*/ 360 h 2134"/>
              <a:gd name="T6" fmla="*/ 662 w 6989"/>
              <a:gd name="T7" fmla="*/ 521 h 2134"/>
              <a:gd name="T8" fmla="*/ 804 w 6989"/>
              <a:gd name="T9" fmla="*/ 521 h 2134"/>
              <a:gd name="T10" fmla="*/ 880 w 6989"/>
              <a:gd name="T11" fmla="*/ 408 h 2134"/>
              <a:gd name="T12" fmla="*/ 936 w 6989"/>
              <a:gd name="T13" fmla="*/ 540 h 2134"/>
              <a:gd name="T14" fmla="*/ 1003 w 6989"/>
              <a:gd name="T15" fmla="*/ 493 h 2134"/>
              <a:gd name="T16" fmla="*/ 1069 w 6989"/>
              <a:gd name="T17" fmla="*/ 531 h 2134"/>
              <a:gd name="T18" fmla="*/ 1163 w 6989"/>
              <a:gd name="T19" fmla="*/ 550 h 2134"/>
              <a:gd name="T20" fmla="*/ 1230 w 6989"/>
              <a:gd name="T21" fmla="*/ 256 h 2134"/>
              <a:gd name="T22" fmla="*/ 1267 w 6989"/>
              <a:gd name="T23" fmla="*/ 465 h 2134"/>
              <a:gd name="T24" fmla="*/ 1315 w 6989"/>
              <a:gd name="T25" fmla="*/ 398 h 2134"/>
              <a:gd name="T26" fmla="*/ 1381 w 6989"/>
              <a:gd name="T27" fmla="*/ 626 h 2134"/>
              <a:gd name="T28" fmla="*/ 1447 w 6989"/>
              <a:gd name="T29" fmla="*/ 588 h 2134"/>
              <a:gd name="T30" fmla="*/ 1542 w 6989"/>
              <a:gd name="T31" fmla="*/ 332 h 2134"/>
              <a:gd name="T32" fmla="*/ 1674 w 6989"/>
              <a:gd name="T33" fmla="*/ 550 h 2134"/>
              <a:gd name="T34" fmla="*/ 1740 w 6989"/>
              <a:gd name="T35" fmla="*/ 569 h 2134"/>
              <a:gd name="T36" fmla="*/ 1816 w 6989"/>
              <a:gd name="T37" fmla="*/ 474 h 2134"/>
              <a:gd name="T38" fmla="*/ 1967 w 6989"/>
              <a:gd name="T39" fmla="*/ 360 h 2134"/>
              <a:gd name="T40" fmla="*/ 2327 w 6989"/>
              <a:gd name="T41" fmla="*/ 1062 h 2134"/>
              <a:gd name="T42" fmla="*/ 2497 w 6989"/>
              <a:gd name="T43" fmla="*/ 1043 h 2134"/>
              <a:gd name="T44" fmla="*/ 2591 w 6989"/>
              <a:gd name="T45" fmla="*/ 1024 h 2134"/>
              <a:gd name="T46" fmla="*/ 2714 w 6989"/>
              <a:gd name="T47" fmla="*/ 256 h 2134"/>
              <a:gd name="T48" fmla="*/ 3282 w 6989"/>
              <a:gd name="T49" fmla="*/ 1432 h 2134"/>
              <a:gd name="T50" fmla="*/ 3868 w 6989"/>
              <a:gd name="T51" fmla="*/ 161 h 2134"/>
              <a:gd name="T52" fmla="*/ 4124 w 6989"/>
              <a:gd name="T53" fmla="*/ 152 h 2134"/>
              <a:gd name="T54" fmla="*/ 4691 w 6989"/>
              <a:gd name="T55" fmla="*/ 0 h 2134"/>
              <a:gd name="T56" fmla="*/ 4946 w 6989"/>
              <a:gd name="T57" fmla="*/ 76 h 2134"/>
              <a:gd name="T58" fmla="*/ 5741 w 6989"/>
              <a:gd name="T59" fmla="*/ 1859 h 2134"/>
              <a:gd name="T60" fmla="*/ 5977 w 6989"/>
              <a:gd name="T61" fmla="*/ 1071 h 2134"/>
              <a:gd name="T62" fmla="*/ 6072 w 6989"/>
              <a:gd name="T63" fmla="*/ 1109 h 2134"/>
              <a:gd name="T64" fmla="*/ 6157 w 6989"/>
              <a:gd name="T65" fmla="*/ 1365 h 2134"/>
              <a:gd name="T66" fmla="*/ 6261 w 6989"/>
              <a:gd name="T67" fmla="*/ 1688 h 2134"/>
              <a:gd name="T68" fmla="*/ 6289 w 6989"/>
              <a:gd name="T69" fmla="*/ 1631 h 2134"/>
              <a:gd name="T70" fmla="*/ 6412 w 6989"/>
              <a:gd name="T71" fmla="*/ 1640 h 2134"/>
              <a:gd name="T72" fmla="*/ 6460 w 6989"/>
              <a:gd name="T73" fmla="*/ 1640 h 2134"/>
              <a:gd name="T74" fmla="*/ 6582 w 6989"/>
              <a:gd name="T75" fmla="*/ 1612 h 2134"/>
              <a:gd name="T76" fmla="*/ 6630 w 6989"/>
              <a:gd name="T77" fmla="*/ 1669 h 2134"/>
              <a:gd name="T78" fmla="*/ 6696 w 6989"/>
              <a:gd name="T79" fmla="*/ 1659 h 2134"/>
              <a:gd name="T80" fmla="*/ 6791 w 6989"/>
              <a:gd name="T81" fmla="*/ 1669 h 2134"/>
              <a:gd name="T82" fmla="*/ 6885 w 6989"/>
              <a:gd name="T83" fmla="*/ 1546 h 2134"/>
              <a:gd name="T84" fmla="*/ 6989 w 6989"/>
              <a:gd name="T85" fmla="*/ 1574 h 2134"/>
              <a:gd name="connsiteX0" fmla="*/ 0 w 10000"/>
              <a:gd name="connsiteY0" fmla="*/ 10000 h 10000"/>
              <a:gd name="connsiteX1" fmla="*/ 0 w 10000"/>
              <a:gd name="connsiteY1" fmla="*/ 5422 h 10000"/>
              <a:gd name="connsiteX2" fmla="*/ 446 w 10000"/>
              <a:gd name="connsiteY2" fmla="*/ 2043 h 10000"/>
              <a:gd name="connsiteX3" fmla="*/ 771 w 10000"/>
              <a:gd name="connsiteY3" fmla="*/ 2043 h 10000"/>
              <a:gd name="connsiteX4" fmla="*/ 838 w 10000"/>
              <a:gd name="connsiteY4" fmla="*/ 1687 h 10000"/>
              <a:gd name="connsiteX5" fmla="*/ 907 w 10000"/>
              <a:gd name="connsiteY5" fmla="*/ 1687 h 10000"/>
              <a:gd name="connsiteX6" fmla="*/ 947 w 10000"/>
              <a:gd name="connsiteY6" fmla="*/ 2441 h 10000"/>
              <a:gd name="connsiteX7" fmla="*/ 1042 w 10000"/>
              <a:gd name="connsiteY7" fmla="*/ 1645 h 10000"/>
              <a:gd name="connsiteX8" fmla="*/ 1150 w 10000"/>
              <a:gd name="connsiteY8" fmla="*/ 2441 h 10000"/>
              <a:gd name="connsiteX9" fmla="*/ 1205 w 10000"/>
              <a:gd name="connsiteY9" fmla="*/ 1645 h 10000"/>
              <a:gd name="connsiteX10" fmla="*/ 1259 w 10000"/>
              <a:gd name="connsiteY10" fmla="*/ 1912 h 10000"/>
              <a:gd name="connsiteX11" fmla="*/ 1299 w 10000"/>
              <a:gd name="connsiteY11" fmla="*/ 1556 h 10000"/>
              <a:gd name="connsiteX12" fmla="*/ 1339 w 10000"/>
              <a:gd name="connsiteY12" fmla="*/ 2530 h 10000"/>
              <a:gd name="connsiteX13" fmla="*/ 1421 w 10000"/>
              <a:gd name="connsiteY13" fmla="*/ 1378 h 10000"/>
              <a:gd name="connsiteX14" fmla="*/ 1435 w 10000"/>
              <a:gd name="connsiteY14" fmla="*/ 2310 h 10000"/>
              <a:gd name="connsiteX15" fmla="*/ 1488 w 10000"/>
              <a:gd name="connsiteY15" fmla="*/ 2577 h 10000"/>
              <a:gd name="connsiteX16" fmla="*/ 1530 w 10000"/>
              <a:gd name="connsiteY16" fmla="*/ 2488 h 10000"/>
              <a:gd name="connsiteX17" fmla="*/ 1557 w 10000"/>
              <a:gd name="connsiteY17" fmla="*/ 1823 h 10000"/>
              <a:gd name="connsiteX18" fmla="*/ 1664 w 10000"/>
              <a:gd name="connsiteY18" fmla="*/ 2577 h 10000"/>
              <a:gd name="connsiteX19" fmla="*/ 1718 w 10000"/>
              <a:gd name="connsiteY19" fmla="*/ 2310 h 10000"/>
              <a:gd name="connsiteX20" fmla="*/ 1760 w 10000"/>
              <a:gd name="connsiteY20" fmla="*/ 1200 h 10000"/>
              <a:gd name="connsiteX21" fmla="*/ 1786 w 10000"/>
              <a:gd name="connsiteY21" fmla="*/ 2352 h 10000"/>
              <a:gd name="connsiteX22" fmla="*/ 1813 w 10000"/>
              <a:gd name="connsiteY22" fmla="*/ 2179 h 10000"/>
              <a:gd name="connsiteX23" fmla="*/ 1827 w 10000"/>
              <a:gd name="connsiteY23" fmla="*/ 2310 h 10000"/>
              <a:gd name="connsiteX24" fmla="*/ 1882 w 10000"/>
              <a:gd name="connsiteY24" fmla="*/ 1865 h 10000"/>
              <a:gd name="connsiteX25" fmla="*/ 1976 w 10000"/>
              <a:gd name="connsiteY25" fmla="*/ 2441 h 10000"/>
              <a:gd name="connsiteX26" fmla="*/ 1976 w 10000"/>
              <a:gd name="connsiteY26" fmla="*/ 2933 h 10000"/>
              <a:gd name="connsiteX27" fmla="*/ 2030 w 10000"/>
              <a:gd name="connsiteY27" fmla="*/ 3154 h 10000"/>
              <a:gd name="connsiteX28" fmla="*/ 2070 w 10000"/>
              <a:gd name="connsiteY28" fmla="*/ 2755 h 10000"/>
              <a:gd name="connsiteX29" fmla="*/ 2125 w 10000"/>
              <a:gd name="connsiteY29" fmla="*/ 3154 h 10000"/>
              <a:gd name="connsiteX30" fmla="*/ 2206 w 10000"/>
              <a:gd name="connsiteY30" fmla="*/ 1556 h 10000"/>
              <a:gd name="connsiteX31" fmla="*/ 2274 w 10000"/>
              <a:gd name="connsiteY31" fmla="*/ 3421 h 10000"/>
              <a:gd name="connsiteX32" fmla="*/ 2395 w 10000"/>
              <a:gd name="connsiteY32" fmla="*/ 2577 h 10000"/>
              <a:gd name="connsiteX33" fmla="*/ 2408 w 10000"/>
              <a:gd name="connsiteY33" fmla="*/ 2043 h 10000"/>
              <a:gd name="connsiteX34" fmla="*/ 2490 w 10000"/>
              <a:gd name="connsiteY34" fmla="*/ 2666 h 10000"/>
              <a:gd name="connsiteX35" fmla="*/ 2544 w 10000"/>
              <a:gd name="connsiteY35" fmla="*/ 2310 h 10000"/>
              <a:gd name="connsiteX36" fmla="*/ 2598 w 10000"/>
              <a:gd name="connsiteY36" fmla="*/ 2221 h 10000"/>
              <a:gd name="connsiteX37" fmla="*/ 2693 w 10000"/>
              <a:gd name="connsiteY37" fmla="*/ 1645 h 10000"/>
              <a:gd name="connsiteX38" fmla="*/ 2814 w 10000"/>
              <a:gd name="connsiteY38" fmla="*/ 1687 h 10000"/>
              <a:gd name="connsiteX39" fmla="*/ 3194 w 10000"/>
              <a:gd name="connsiteY39" fmla="*/ 2179 h 10000"/>
              <a:gd name="connsiteX40" fmla="*/ 3330 w 10000"/>
              <a:gd name="connsiteY40" fmla="*/ 4977 h 10000"/>
              <a:gd name="connsiteX41" fmla="*/ 3424 w 10000"/>
              <a:gd name="connsiteY41" fmla="*/ 5066 h 10000"/>
              <a:gd name="connsiteX42" fmla="*/ 3573 w 10000"/>
              <a:gd name="connsiteY42" fmla="*/ 4888 h 10000"/>
              <a:gd name="connsiteX43" fmla="*/ 3640 w 10000"/>
              <a:gd name="connsiteY43" fmla="*/ 4977 h 10000"/>
              <a:gd name="connsiteX44" fmla="*/ 3707 w 10000"/>
              <a:gd name="connsiteY44" fmla="*/ 4799 h 10000"/>
              <a:gd name="connsiteX45" fmla="*/ 3803 w 10000"/>
              <a:gd name="connsiteY45" fmla="*/ 1467 h 10000"/>
              <a:gd name="connsiteX46" fmla="*/ 3883 w 10000"/>
              <a:gd name="connsiteY46" fmla="*/ 1200 h 10000"/>
              <a:gd name="connsiteX47" fmla="*/ 4222 w 10000"/>
              <a:gd name="connsiteY47" fmla="*/ 6710 h 10000"/>
              <a:gd name="connsiteX48" fmla="*/ 4696 w 10000"/>
              <a:gd name="connsiteY48" fmla="*/ 6710 h 10000"/>
              <a:gd name="connsiteX49" fmla="*/ 5197 w 10000"/>
              <a:gd name="connsiteY49" fmla="*/ 754 h 10000"/>
              <a:gd name="connsiteX50" fmla="*/ 5534 w 10000"/>
              <a:gd name="connsiteY50" fmla="*/ 754 h 10000"/>
              <a:gd name="connsiteX51" fmla="*/ 5874 w 10000"/>
              <a:gd name="connsiteY51" fmla="*/ 1331 h 10000"/>
              <a:gd name="connsiteX52" fmla="*/ 5901 w 10000"/>
              <a:gd name="connsiteY52" fmla="*/ 712 h 10000"/>
              <a:gd name="connsiteX53" fmla="*/ 6035 w 10000"/>
              <a:gd name="connsiteY53" fmla="*/ 89 h 10000"/>
              <a:gd name="connsiteX54" fmla="*/ 6712 w 10000"/>
              <a:gd name="connsiteY54" fmla="*/ 0 h 10000"/>
              <a:gd name="connsiteX55" fmla="*/ 6942 w 10000"/>
              <a:gd name="connsiteY55" fmla="*/ 89 h 10000"/>
              <a:gd name="connsiteX56" fmla="*/ 7077 w 10000"/>
              <a:gd name="connsiteY56" fmla="*/ 356 h 10000"/>
              <a:gd name="connsiteX57" fmla="*/ 7443 w 10000"/>
              <a:gd name="connsiteY57" fmla="*/ 8754 h 10000"/>
              <a:gd name="connsiteX58" fmla="*/ 8214 w 10000"/>
              <a:gd name="connsiteY58" fmla="*/ 8711 h 10000"/>
              <a:gd name="connsiteX59" fmla="*/ 8376 w 10000"/>
              <a:gd name="connsiteY59" fmla="*/ 4667 h 10000"/>
              <a:gd name="connsiteX60" fmla="*/ 8552 w 10000"/>
              <a:gd name="connsiteY60" fmla="*/ 5019 h 10000"/>
              <a:gd name="connsiteX61" fmla="*/ 8646 w 10000"/>
              <a:gd name="connsiteY61" fmla="*/ 4709 h 10000"/>
              <a:gd name="connsiteX62" fmla="*/ 8688 w 10000"/>
              <a:gd name="connsiteY62" fmla="*/ 5197 h 10000"/>
              <a:gd name="connsiteX63" fmla="*/ 8728 w 10000"/>
              <a:gd name="connsiteY63" fmla="*/ 7287 h 10000"/>
              <a:gd name="connsiteX64" fmla="*/ 8810 w 10000"/>
              <a:gd name="connsiteY64" fmla="*/ 6396 h 10000"/>
              <a:gd name="connsiteX65" fmla="*/ 8904 w 10000"/>
              <a:gd name="connsiteY65" fmla="*/ 7821 h 10000"/>
              <a:gd name="connsiteX66" fmla="*/ 8958 w 10000"/>
              <a:gd name="connsiteY66" fmla="*/ 7910 h 10000"/>
              <a:gd name="connsiteX67" fmla="*/ 8998 w 10000"/>
              <a:gd name="connsiteY67" fmla="*/ 7821 h 10000"/>
              <a:gd name="connsiteX68" fmla="*/ 8998 w 10000"/>
              <a:gd name="connsiteY68" fmla="*/ 7643 h 10000"/>
              <a:gd name="connsiteX69" fmla="*/ 9107 w 10000"/>
              <a:gd name="connsiteY69" fmla="*/ 7821 h 10000"/>
              <a:gd name="connsiteX70" fmla="*/ 9174 w 10000"/>
              <a:gd name="connsiteY70" fmla="*/ 7685 h 10000"/>
              <a:gd name="connsiteX71" fmla="*/ 9202 w 10000"/>
              <a:gd name="connsiteY71" fmla="*/ 7334 h 10000"/>
              <a:gd name="connsiteX72" fmla="*/ 9243 w 10000"/>
              <a:gd name="connsiteY72" fmla="*/ 7685 h 10000"/>
              <a:gd name="connsiteX73" fmla="*/ 9310 w 10000"/>
              <a:gd name="connsiteY73" fmla="*/ 7512 h 10000"/>
              <a:gd name="connsiteX74" fmla="*/ 9418 w 10000"/>
              <a:gd name="connsiteY74" fmla="*/ 7554 h 10000"/>
              <a:gd name="connsiteX75" fmla="*/ 9445 w 10000"/>
              <a:gd name="connsiteY75" fmla="*/ 7774 h 10000"/>
              <a:gd name="connsiteX76" fmla="*/ 9486 w 10000"/>
              <a:gd name="connsiteY76" fmla="*/ 7821 h 10000"/>
              <a:gd name="connsiteX77" fmla="*/ 9526 w 10000"/>
              <a:gd name="connsiteY77" fmla="*/ 7685 h 10000"/>
              <a:gd name="connsiteX78" fmla="*/ 9581 w 10000"/>
              <a:gd name="connsiteY78" fmla="*/ 7774 h 10000"/>
              <a:gd name="connsiteX79" fmla="*/ 9635 w 10000"/>
              <a:gd name="connsiteY79" fmla="*/ 7245 h 10000"/>
              <a:gd name="connsiteX80" fmla="*/ 9717 w 10000"/>
              <a:gd name="connsiteY80" fmla="*/ 7821 h 10000"/>
              <a:gd name="connsiteX81" fmla="*/ 9824 w 10000"/>
              <a:gd name="connsiteY81" fmla="*/ 7465 h 10000"/>
              <a:gd name="connsiteX82" fmla="*/ 9851 w 10000"/>
              <a:gd name="connsiteY82" fmla="*/ 7245 h 10000"/>
              <a:gd name="connsiteX83" fmla="*/ 9918 w 10000"/>
              <a:gd name="connsiteY83" fmla="*/ 7465 h 10000"/>
              <a:gd name="connsiteX84" fmla="*/ 10000 w 10000"/>
              <a:gd name="connsiteY84" fmla="*/ 7376 h 10000"/>
              <a:gd name="connsiteX0" fmla="*/ 0 w 10000"/>
              <a:gd name="connsiteY0" fmla="*/ 10000 h 10000"/>
              <a:gd name="connsiteX1" fmla="*/ 446 w 10000"/>
              <a:gd name="connsiteY1" fmla="*/ 2043 h 10000"/>
              <a:gd name="connsiteX2" fmla="*/ 771 w 10000"/>
              <a:gd name="connsiteY2" fmla="*/ 2043 h 10000"/>
              <a:gd name="connsiteX3" fmla="*/ 838 w 10000"/>
              <a:gd name="connsiteY3" fmla="*/ 1687 h 10000"/>
              <a:gd name="connsiteX4" fmla="*/ 907 w 10000"/>
              <a:gd name="connsiteY4" fmla="*/ 1687 h 10000"/>
              <a:gd name="connsiteX5" fmla="*/ 947 w 10000"/>
              <a:gd name="connsiteY5" fmla="*/ 2441 h 10000"/>
              <a:gd name="connsiteX6" fmla="*/ 1042 w 10000"/>
              <a:gd name="connsiteY6" fmla="*/ 1645 h 10000"/>
              <a:gd name="connsiteX7" fmla="*/ 1150 w 10000"/>
              <a:gd name="connsiteY7" fmla="*/ 2441 h 10000"/>
              <a:gd name="connsiteX8" fmla="*/ 1205 w 10000"/>
              <a:gd name="connsiteY8" fmla="*/ 1645 h 10000"/>
              <a:gd name="connsiteX9" fmla="*/ 1259 w 10000"/>
              <a:gd name="connsiteY9" fmla="*/ 1912 h 10000"/>
              <a:gd name="connsiteX10" fmla="*/ 1299 w 10000"/>
              <a:gd name="connsiteY10" fmla="*/ 1556 h 10000"/>
              <a:gd name="connsiteX11" fmla="*/ 1339 w 10000"/>
              <a:gd name="connsiteY11" fmla="*/ 2530 h 10000"/>
              <a:gd name="connsiteX12" fmla="*/ 1421 w 10000"/>
              <a:gd name="connsiteY12" fmla="*/ 1378 h 10000"/>
              <a:gd name="connsiteX13" fmla="*/ 1435 w 10000"/>
              <a:gd name="connsiteY13" fmla="*/ 2310 h 10000"/>
              <a:gd name="connsiteX14" fmla="*/ 1488 w 10000"/>
              <a:gd name="connsiteY14" fmla="*/ 2577 h 10000"/>
              <a:gd name="connsiteX15" fmla="*/ 1530 w 10000"/>
              <a:gd name="connsiteY15" fmla="*/ 2488 h 10000"/>
              <a:gd name="connsiteX16" fmla="*/ 1557 w 10000"/>
              <a:gd name="connsiteY16" fmla="*/ 1823 h 10000"/>
              <a:gd name="connsiteX17" fmla="*/ 1664 w 10000"/>
              <a:gd name="connsiteY17" fmla="*/ 2577 h 10000"/>
              <a:gd name="connsiteX18" fmla="*/ 1718 w 10000"/>
              <a:gd name="connsiteY18" fmla="*/ 2310 h 10000"/>
              <a:gd name="connsiteX19" fmla="*/ 1760 w 10000"/>
              <a:gd name="connsiteY19" fmla="*/ 1200 h 10000"/>
              <a:gd name="connsiteX20" fmla="*/ 1786 w 10000"/>
              <a:gd name="connsiteY20" fmla="*/ 2352 h 10000"/>
              <a:gd name="connsiteX21" fmla="*/ 1813 w 10000"/>
              <a:gd name="connsiteY21" fmla="*/ 2179 h 10000"/>
              <a:gd name="connsiteX22" fmla="*/ 1827 w 10000"/>
              <a:gd name="connsiteY22" fmla="*/ 2310 h 10000"/>
              <a:gd name="connsiteX23" fmla="*/ 1882 w 10000"/>
              <a:gd name="connsiteY23" fmla="*/ 1865 h 10000"/>
              <a:gd name="connsiteX24" fmla="*/ 1976 w 10000"/>
              <a:gd name="connsiteY24" fmla="*/ 2441 h 10000"/>
              <a:gd name="connsiteX25" fmla="*/ 1976 w 10000"/>
              <a:gd name="connsiteY25" fmla="*/ 2933 h 10000"/>
              <a:gd name="connsiteX26" fmla="*/ 2030 w 10000"/>
              <a:gd name="connsiteY26" fmla="*/ 3154 h 10000"/>
              <a:gd name="connsiteX27" fmla="*/ 2070 w 10000"/>
              <a:gd name="connsiteY27" fmla="*/ 2755 h 10000"/>
              <a:gd name="connsiteX28" fmla="*/ 2125 w 10000"/>
              <a:gd name="connsiteY28" fmla="*/ 3154 h 10000"/>
              <a:gd name="connsiteX29" fmla="*/ 2206 w 10000"/>
              <a:gd name="connsiteY29" fmla="*/ 1556 h 10000"/>
              <a:gd name="connsiteX30" fmla="*/ 2274 w 10000"/>
              <a:gd name="connsiteY30" fmla="*/ 3421 h 10000"/>
              <a:gd name="connsiteX31" fmla="*/ 2395 w 10000"/>
              <a:gd name="connsiteY31" fmla="*/ 2577 h 10000"/>
              <a:gd name="connsiteX32" fmla="*/ 2408 w 10000"/>
              <a:gd name="connsiteY32" fmla="*/ 2043 h 10000"/>
              <a:gd name="connsiteX33" fmla="*/ 2490 w 10000"/>
              <a:gd name="connsiteY33" fmla="*/ 2666 h 10000"/>
              <a:gd name="connsiteX34" fmla="*/ 2544 w 10000"/>
              <a:gd name="connsiteY34" fmla="*/ 2310 h 10000"/>
              <a:gd name="connsiteX35" fmla="*/ 2598 w 10000"/>
              <a:gd name="connsiteY35" fmla="*/ 2221 h 10000"/>
              <a:gd name="connsiteX36" fmla="*/ 2693 w 10000"/>
              <a:gd name="connsiteY36" fmla="*/ 1645 h 10000"/>
              <a:gd name="connsiteX37" fmla="*/ 2814 w 10000"/>
              <a:gd name="connsiteY37" fmla="*/ 1687 h 10000"/>
              <a:gd name="connsiteX38" fmla="*/ 3194 w 10000"/>
              <a:gd name="connsiteY38" fmla="*/ 2179 h 10000"/>
              <a:gd name="connsiteX39" fmla="*/ 3330 w 10000"/>
              <a:gd name="connsiteY39" fmla="*/ 4977 h 10000"/>
              <a:gd name="connsiteX40" fmla="*/ 3424 w 10000"/>
              <a:gd name="connsiteY40" fmla="*/ 5066 h 10000"/>
              <a:gd name="connsiteX41" fmla="*/ 3573 w 10000"/>
              <a:gd name="connsiteY41" fmla="*/ 4888 h 10000"/>
              <a:gd name="connsiteX42" fmla="*/ 3640 w 10000"/>
              <a:gd name="connsiteY42" fmla="*/ 4977 h 10000"/>
              <a:gd name="connsiteX43" fmla="*/ 3707 w 10000"/>
              <a:gd name="connsiteY43" fmla="*/ 4799 h 10000"/>
              <a:gd name="connsiteX44" fmla="*/ 3803 w 10000"/>
              <a:gd name="connsiteY44" fmla="*/ 1467 h 10000"/>
              <a:gd name="connsiteX45" fmla="*/ 3883 w 10000"/>
              <a:gd name="connsiteY45" fmla="*/ 1200 h 10000"/>
              <a:gd name="connsiteX46" fmla="*/ 4222 w 10000"/>
              <a:gd name="connsiteY46" fmla="*/ 6710 h 10000"/>
              <a:gd name="connsiteX47" fmla="*/ 4696 w 10000"/>
              <a:gd name="connsiteY47" fmla="*/ 6710 h 10000"/>
              <a:gd name="connsiteX48" fmla="*/ 5197 w 10000"/>
              <a:gd name="connsiteY48" fmla="*/ 754 h 10000"/>
              <a:gd name="connsiteX49" fmla="*/ 5534 w 10000"/>
              <a:gd name="connsiteY49" fmla="*/ 754 h 10000"/>
              <a:gd name="connsiteX50" fmla="*/ 5874 w 10000"/>
              <a:gd name="connsiteY50" fmla="*/ 1331 h 10000"/>
              <a:gd name="connsiteX51" fmla="*/ 5901 w 10000"/>
              <a:gd name="connsiteY51" fmla="*/ 712 h 10000"/>
              <a:gd name="connsiteX52" fmla="*/ 6035 w 10000"/>
              <a:gd name="connsiteY52" fmla="*/ 89 h 10000"/>
              <a:gd name="connsiteX53" fmla="*/ 6712 w 10000"/>
              <a:gd name="connsiteY53" fmla="*/ 0 h 10000"/>
              <a:gd name="connsiteX54" fmla="*/ 6942 w 10000"/>
              <a:gd name="connsiteY54" fmla="*/ 89 h 10000"/>
              <a:gd name="connsiteX55" fmla="*/ 7077 w 10000"/>
              <a:gd name="connsiteY55" fmla="*/ 356 h 10000"/>
              <a:gd name="connsiteX56" fmla="*/ 7443 w 10000"/>
              <a:gd name="connsiteY56" fmla="*/ 8754 h 10000"/>
              <a:gd name="connsiteX57" fmla="*/ 8214 w 10000"/>
              <a:gd name="connsiteY57" fmla="*/ 8711 h 10000"/>
              <a:gd name="connsiteX58" fmla="*/ 8376 w 10000"/>
              <a:gd name="connsiteY58" fmla="*/ 4667 h 10000"/>
              <a:gd name="connsiteX59" fmla="*/ 8552 w 10000"/>
              <a:gd name="connsiteY59" fmla="*/ 5019 h 10000"/>
              <a:gd name="connsiteX60" fmla="*/ 8646 w 10000"/>
              <a:gd name="connsiteY60" fmla="*/ 4709 h 10000"/>
              <a:gd name="connsiteX61" fmla="*/ 8688 w 10000"/>
              <a:gd name="connsiteY61" fmla="*/ 5197 h 10000"/>
              <a:gd name="connsiteX62" fmla="*/ 8728 w 10000"/>
              <a:gd name="connsiteY62" fmla="*/ 7287 h 10000"/>
              <a:gd name="connsiteX63" fmla="*/ 8810 w 10000"/>
              <a:gd name="connsiteY63" fmla="*/ 6396 h 10000"/>
              <a:gd name="connsiteX64" fmla="*/ 8904 w 10000"/>
              <a:gd name="connsiteY64" fmla="*/ 7821 h 10000"/>
              <a:gd name="connsiteX65" fmla="*/ 8958 w 10000"/>
              <a:gd name="connsiteY65" fmla="*/ 7910 h 10000"/>
              <a:gd name="connsiteX66" fmla="*/ 8998 w 10000"/>
              <a:gd name="connsiteY66" fmla="*/ 7821 h 10000"/>
              <a:gd name="connsiteX67" fmla="*/ 8998 w 10000"/>
              <a:gd name="connsiteY67" fmla="*/ 7643 h 10000"/>
              <a:gd name="connsiteX68" fmla="*/ 9107 w 10000"/>
              <a:gd name="connsiteY68" fmla="*/ 7821 h 10000"/>
              <a:gd name="connsiteX69" fmla="*/ 9174 w 10000"/>
              <a:gd name="connsiteY69" fmla="*/ 7685 h 10000"/>
              <a:gd name="connsiteX70" fmla="*/ 9202 w 10000"/>
              <a:gd name="connsiteY70" fmla="*/ 7334 h 10000"/>
              <a:gd name="connsiteX71" fmla="*/ 9243 w 10000"/>
              <a:gd name="connsiteY71" fmla="*/ 7685 h 10000"/>
              <a:gd name="connsiteX72" fmla="*/ 9310 w 10000"/>
              <a:gd name="connsiteY72" fmla="*/ 7512 h 10000"/>
              <a:gd name="connsiteX73" fmla="*/ 9418 w 10000"/>
              <a:gd name="connsiteY73" fmla="*/ 7554 h 10000"/>
              <a:gd name="connsiteX74" fmla="*/ 9445 w 10000"/>
              <a:gd name="connsiteY74" fmla="*/ 7774 h 10000"/>
              <a:gd name="connsiteX75" fmla="*/ 9486 w 10000"/>
              <a:gd name="connsiteY75" fmla="*/ 7821 h 10000"/>
              <a:gd name="connsiteX76" fmla="*/ 9526 w 10000"/>
              <a:gd name="connsiteY76" fmla="*/ 7685 h 10000"/>
              <a:gd name="connsiteX77" fmla="*/ 9581 w 10000"/>
              <a:gd name="connsiteY77" fmla="*/ 7774 h 10000"/>
              <a:gd name="connsiteX78" fmla="*/ 9635 w 10000"/>
              <a:gd name="connsiteY78" fmla="*/ 7245 h 10000"/>
              <a:gd name="connsiteX79" fmla="*/ 9717 w 10000"/>
              <a:gd name="connsiteY79" fmla="*/ 7821 h 10000"/>
              <a:gd name="connsiteX80" fmla="*/ 9824 w 10000"/>
              <a:gd name="connsiteY80" fmla="*/ 7465 h 10000"/>
              <a:gd name="connsiteX81" fmla="*/ 9851 w 10000"/>
              <a:gd name="connsiteY81" fmla="*/ 7245 h 10000"/>
              <a:gd name="connsiteX82" fmla="*/ 9918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713 w 10000"/>
              <a:gd name="connsiteY1" fmla="*/ 2873 h 10000"/>
              <a:gd name="connsiteX2" fmla="*/ 771 w 10000"/>
              <a:gd name="connsiteY2" fmla="*/ 2043 h 10000"/>
              <a:gd name="connsiteX3" fmla="*/ 838 w 10000"/>
              <a:gd name="connsiteY3" fmla="*/ 1687 h 10000"/>
              <a:gd name="connsiteX4" fmla="*/ 907 w 10000"/>
              <a:gd name="connsiteY4" fmla="*/ 1687 h 10000"/>
              <a:gd name="connsiteX5" fmla="*/ 947 w 10000"/>
              <a:gd name="connsiteY5" fmla="*/ 2441 h 10000"/>
              <a:gd name="connsiteX6" fmla="*/ 1042 w 10000"/>
              <a:gd name="connsiteY6" fmla="*/ 1645 h 10000"/>
              <a:gd name="connsiteX7" fmla="*/ 1150 w 10000"/>
              <a:gd name="connsiteY7" fmla="*/ 2441 h 10000"/>
              <a:gd name="connsiteX8" fmla="*/ 1205 w 10000"/>
              <a:gd name="connsiteY8" fmla="*/ 1645 h 10000"/>
              <a:gd name="connsiteX9" fmla="*/ 1259 w 10000"/>
              <a:gd name="connsiteY9" fmla="*/ 1912 h 10000"/>
              <a:gd name="connsiteX10" fmla="*/ 1299 w 10000"/>
              <a:gd name="connsiteY10" fmla="*/ 1556 h 10000"/>
              <a:gd name="connsiteX11" fmla="*/ 1339 w 10000"/>
              <a:gd name="connsiteY11" fmla="*/ 2530 h 10000"/>
              <a:gd name="connsiteX12" fmla="*/ 1421 w 10000"/>
              <a:gd name="connsiteY12" fmla="*/ 1378 h 10000"/>
              <a:gd name="connsiteX13" fmla="*/ 1435 w 10000"/>
              <a:gd name="connsiteY13" fmla="*/ 2310 h 10000"/>
              <a:gd name="connsiteX14" fmla="*/ 1488 w 10000"/>
              <a:gd name="connsiteY14" fmla="*/ 2577 h 10000"/>
              <a:gd name="connsiteX15" fmla="*/ 1530 w 10000"/>
              <a:gd name="connsiteY15" fmla="*/ 2488 h 10000"/>
              <a:gd name="connsiteX16" fmla="*/ 1557 w 10000"/>
              <a:gd name="connsiteY16" fmla="*/ 1823 h 10000"/>
              <a:gd name="connsiteX17" fmla="*/ 1664 w 10000"/>
              <a:gd name="connsiteY17" fmla="*/ 2577 h 10000"/>
              <a:gd name="connsiteX18" fmla="*/ 1718 w 10000"/>
              <a:gd name="connsiteY18" fmla="*/ 2310 h 10000"/>
              <a:gd name="connsiteX19" fmla="*/ 1760 w 10000"/>
              <a:gd name="connsiteY19" fmla="*/ 1200 h 10000"/>
              <a:gd name="connsiteX20" fmla="*/ 1786 w 10000"/>
              <a:gd name="connsiteY20" fmla="*/ 2352 h 10000"/>
              <a:gd name="connsiteX21" fmla="*/ 1813 w 10000"/>
              <a:gd name="connsiteY21" fmla="*/ 2179 h 10000"/>
              <a:gd name="connsiteX22" fmla="*/ 1827 w 10000"/>
              <a:gd name="connsiteY22" fmla="*/ 2310 h 10000"/>
              <a:gd name="connsiteX23" fmla="*/ 1882 w 10000"/>
              <a:gd name="connsiteY23" fmla="*/ 1865 h 10000"/>
              <a:gd name="connsiteX24" fmla="*/ 1976 w 10000"/>
              <a:gd name="connsiteY24" fmla="*/ 2441 h 10000"/>
              <a:gd name="connsiteX25" fmla="*/ 1976 w 10000"/>
              <a:gd name="connsiteY25" fmla="*/ 2933 h 10000"/>
              <a:gd name="connsiteX26" fmla="*/ 2030 w 10000"/>
              <a:gd name="connsiteY26" fmla="*/ 3154 h 10000"/>
              <a:gd name="connsiteX27" fmla="*/ 2070 w 10000"/>
              <a:gd name="connsiteY27" fmla="*/ 2755 h 10000"/>
              <a:gd name="connsiteX28" fmla="*/ 2125 w 10000"/>
              <a:gd name="connsiteY28" fmla="*/ 3154 h 10000"/>
              <a:gd name="connsiteX29" fmla="*/ 2206 w 10000"/>
              <a:gd name="connsiteY29" fmla="*/ 1556 h 10000"/>
              <a:gd name="connsiteX30" fmla="*/ 2274 w 10000"/>
              <a:gd name="connsiteY30" fmla="*/ 3421 h 10000"/>
              <a:gd name="connsiteX31" fmla="*/ 2395 w 10000"/>
              <a:gd name="connsiteY31" fmla="*/ 2577 h 10000"/>
              <a:gd name="connsiteX32" fmla="*/ 2408 w 10000"/>
              <a:gd name="connsiteY32" fmla="*/ 2043 h 10000"/>
              <a:gd name="connsiteX33" fmla="*/ 2490 w 10000"/>
              <a:gd name="connsiteY33" fmla="*/ 2666 h 10000"/>
              <a:gd name="connsiteX34" fmla="*/ 2544 w 10000"/>
              <a:gd name="connsiteY34" fmla="*/ 2310 h 10000"/>
              <a:gd name="connsiteX35" fmla="*/ 2598 w 10000"/>
              <a:gd name="connsiteY35" fmla="*/ 2221 h 10000"/>
              <a:gd name="connsiteX36" fmla="*/ 2693 w 10000"/>
              <a:gd name="connsiteY36" fmla="*/ 1645 h 10000"/>
              <a:gd name="connsiteX37" fmla="*/ 2814 w 10000"/>
              <a:gd name="connsiteY37" fmla="*/ 1687 h 10000"/>
              <a:gd name="connsiteX38" fmla="*/ 3194 w 10000"/>
              <a:gd name="connsiteY38" fmla="*/ 2179 h 10000"/>
              <a:gd name="connsiteX39" fmla="*/ 3330 w 10000"/>
              <a:gd name="connsiteY39" fmla="*/ 4977 h 10000"/>
              <a:gd name="connsiteX40" fmla="*/ 3424 w 10000"/>
              <a:gd name="connsiteY40" fmla="*/ 5066 h 10000"/>
              <a:gd name="connsiteX41" fmla="*/ 3573 w 10000"/>
              <a:gd name="connsiteY41" fmla="*/ 4888 h 10000"/>
              <a:gd name="connsiteX42" fmla="*/ 3640 w 10000"/>
              <a:gd name="connsiteY42" fmla="*/ 4977 h 10000"/>
              <a:gd name="connsiteX43" fmla="*/ 3707 w 10000"/>
              <a:gd name="connsiteY43" fmla="*/ 4799 h 10000"/>
              <a:gd name="connsiteX44" fmla="*/ 3803 w 10000"/>
              <a:gd name="connsiteY44" fmla="*/ 1467 h 10000"/>
              <a:gd name="connsiteX45" fmla="*/ 3883 w 10000"/>
              <a:gd name="connsiteY45" fmla="*/ 1200 h 10000"/>
              <a:gd name="connsiteX46" fmla="*/ 4222 w 10000"/>
              <a:gd name="connsiteY46" fmla="*/ 6710 h 10000"/>
              <a:gd name="connsiteX47" fmla="*/ 4696 w 10000"/>
              <a:gd name="connsiteY47" fmla="*/ 6710 h 10000"/>
              <a:gd name="connsiteX48" fmla="*/ 5197 w 10000"/>
              <a:gd name="connsiteY48" fmla="*/ 754 h 10000"/>
              <a:gd name="connsiteX49" fmla="*/ 5534 w 10000"/>
              <a:gd name="connsiteY49" fmla="*/ 754 h 10000"/>
              <a:gd name="connsiteX50" fmla="*/ 5874 w 10000"/>
              <a:gd name="connsiteY50" fmla="*/ 1331 h 10000"/>
              <a:gd name="connsiteX51" fmla="*/ 5901 w 10000"/>
              <a:gd name="connsiteY51" fmla="*/ 712 h 10000"/>
              <a:gd name="connsiteX52" fmla="*/ 6035 w 10000"/>
              <a:gd name="connsiteY52" fmla="*/ 89 h 10000"/>
              <a:gd name="connsiteX53" fmla="*/ 6712 w 10000"/>
              <a:gd name="connsiteY53" fmla="*/ 0 h 10000"/>
              <a:gd name="connsiteX54" fmla="*/ 6942 w 10000"/>
              <a:gd name="connsiteY54" fmla="*/ 89 h 10000"/>
              <a:gd name="connsiteX55" fmla="*/ 7077 w 10000"/>
              <a:gd name="connsiteY55" fmla="*/ 356 h 10000"/>
              <a:gd name="connsiteX56" fmla="*/ 7443 w 10000"/>
              <a:gd name="connsiteY56" fmla="*/ 8754 h 10000"/>
              <a:gd name="connsiteX57" fmla="*/ 8214 w 10000"/>
              <a:gd name="connsiteY57" fmla="*/ 8711 h 10000"/>
              <a:gd name="connsiteX58" fmla="*/ 8376 w 10000"/>
              <a:gd name="connsiteY58" fmla="*/ 4667 h 10000"/>
              <a:gd name="connsiteX59" fmla="*/ 8552 w 10000"/>
              <a:gd name="connsiteY59" fmla="*/ 5019 h 10000"/>
              <a:gd name="connsiteX60" fmla="*/ 8646 w 10000"/>
              <a:gd name="connsiteY60" fmla="*/ 4709 h 10000"/>
              <a:gd name="connsiteX61" fmla="*/ 8688 w 10000"/>
              <a:gd name="connsiteY61" fmla="*/ 5197 h 10000"/>
              <a:gd name="connsiteX62" fmla="*/ 8728 w 10000"/>
              <a:gd name="connsiteY62" fmla="*/ 7287 h 10000"/>
              <a:gd name="connsiteX63" fmla="*/ 8810 w 10000"/>
              <a:gd name="connsiteY63" fmla="*/ 6396 h 10000"/>
              <a:gd name="connsiteX64" fmla="*/ 8904 w 10000"/>
              <a:gd name="connsiteY64" fmla="*/ 7821 h 10000"/>
              <a:gd name="connsiteX65" fmla="*/ 8958 w 10000"/>
              <a:gd name="connsiteY65" fmla="*/ 7910 h 10000"/>
              <a:gd name="connsiteX66" fmla="*/ 8998 w 10000"/>
              <a:gd name="connsiteY66" fmla="*/ 7821 h 10000"/>
              <a:gd name="connsiteX67" fmla="*/ 8998 w 10000"/>
              <a:gd name="connsiteY67" fmla="*/ 7643 h 10000"/>
              <a:gd name="connsiteX68" fmla="*/ 9107 w 10000"/>
              <a:gd name="connsiteY68" fmla="*/ 7821 h 10000"/>
              <a:gd name="connsiteX69" fmla="*/ 9174 w 10000"/>
              <a:gd name="connsiteY69" fmla="*/ 7685 h 10000"/>
              <a:gd name="connsiteX70" fmla="*/ 9202 w 10000"/>
              <a:gd name="connsiteY70" fmla="*/ 7334 h 10000"/>
              <a:gd name="connsiteX71" fmla="*/ 9243 w 10000"/>
              <a:gd name="connsiteY71" fmla="*/ 7685 h 10000"/>
              <a:gd name="connsiteX72" fmla="*/ 9310 w 10000"/>
              <a:gd name="connsiteY72" fmla="*/ 7512 h 10000"/>
              <a:gd name="connsiteX73" fmla="*/ 9418 w 10000"/>
              <a:gd name="connsiteY73" fmla="*/ 7554 h 10000"/>
              <a:gd name="connsiteX74" fmla="*/ 9445 w 10000"/>
              <a:gd name="connsiteY74" fmla="*/ 7774 h 10000"/>
              <a:gd name="connsiteX75" fmla="*/ 9486 w 10000"/>
              <a:gd name="connsiteY75" fmla="*/ 7821 h 10000"/>
              <a:gd name="connsiteX76" fmla="*/ 9526 w 10000"/>
              <a:gd name="connsiteY76" fmla="*/ 7685 h 10000"/>
              <a:gd name="connsiteX77" fmla="*/ 9581 w 10000"/>
              <a:gd name="connsiteY77" fmla="*/ 7774 h 10000"/>
              <a:gd name="connsiteX78" fmla="*/ 9635 w 10000"/>
              <a:gd name="connsiteY78" fmla="*/ 7245 h 10000"/>
              <a:gd name="connsiteX79" fmla="*/ 9717 w 10000"/>
              <a:gd name="connsiteY79" fmla="*/ 7821 h 10000"/>
              <a:gd name="connsiteX80" fmla="*/ 9824 w 10000"/>
              <a:gd name="connsiteY80" fmla="*/ 7465 h 10000"/>
              <a:gd name="connsiteX81" fmla="*/ 9851 w 10000"/>
              <a:gd name="connsiteY81" fmla="*/ 7245 h 10000"/>
              <a:gd name="connsiteX82" fmla="*/ 9918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662 w 10000"/>
              <a:gd name="connsiteY1" fmla="*/ 2165 h 10000"/>
              <a:gd name="connsiteX2" fmla="*/ 771 w 10000"/>
              <a:gd name="connsiteY2" fmla="*/ 2043 h 10000"/>
              <a:gd name="connsiteX3" fmla="*/ 838 w 10000"/>
              <a:gd name="connsiteY3" fmla="*/ 1687 h 10000"/>
              <a:gd name="connsiteX4" fmla="*/ 907 w 10000"/>
              <a:gd name="connsiteY4" fmla="*/ 1687 h 10000"/>
              <a:gd name="connsiteX5" fmla="*/ 947 w 10000"/>
              <a:gd name="connsiteY5" fmla="*/ 2441 h 10000"/>
              <a:gd name="connsiteX6" fmla="*/ 1042 w 10000"/>
              <a:gd name="connsiteY6" fmla="*/ 1645 h 10000"/>
              <a:gd name="connsiteX7" fmla="*/ 1150 w 10000"/>
              <a:gd name="connsiteY7" fmla="*/ 2441 h 10000"/>
              <a:gd name="connsiteX8" fmla="*/ 1205 w 10000"/>
              <a:gd name="connsiteY8" fmla="*/ 1645 h 10000"/>
              <a:gd name="connsiteX9" fmla="*/ 1259 w 10000"/>
              <a:gd name="connsiteY9" fmla="*/ 1912 h 10000"/>
              <a:gd name="connsiteX10" fmla="*/ 1299 w 10000"/>
              <a:gd name="connsiteY10" fmla="*/ 1556 h 10000"/>
              <a:gd name="connsiteX11" fmla="*/ 1339 w 10000"/>
              <a:gd name="connsiteY11" fmla="*/ 2530 h 10000"/>
              <a:gd name="connsiteX12" fmla="*/ 1421 w 10000"/>
              <a:gd name="connsiteY12" fmla="*/ 1378 h 10000"/>
              <a:gd name="connsiteX13" fmla="*/ 1435 w 10000"/>
              <a:gd name="connsiteY13" fmla="*/ 2310 h 10000"/>
              <a:gd name="connsiteX14" fmla="*/ 1488 w 10000"/>
              <a:gd name="connsiteY14" fmla="*/ 2577 h 10000"/>
              <a:gd name="connsiteX15" fmla="*/ 1530 w 10000"/>
              <a:gd name="connsiteY15" fmla="*/ 2488 h 10000"/>
              <a:gd name="connsiteX16" fmla="*/ 1557 w 10000"/>
              <a:gd name="connsiteY16" fmla="*/ 1823 h 10000"/>
              <a:gd name="connsiteX17" fmla="*/ 1664 w 10000"/>
              <a:gd name="connsiteY17" fmla="*/ 2577 h 10000"/>
              <a:gd name="connsiteX18" fmla="*/ 1718 w 10000"/>
              <a:gd name="connsiteY18" fmla="*/ 2310 h 10000"/>
              <a:gd name="connsiteX19" fmla="*/ 1760 w 10000"/>
              <a:gd name="connsiteY19" fmla="*/ 1200 h 10000"/>
              <a:gd name="connsiteX20" fmla="*/ 1786 w 10000"/>
              <a:gd name="connsiteY20" fmla="*/ 2352 h 10000"/>
              <a:gd name="connsiteX21" fmla="*/ 1813 w 10000"/>
              <a:gd name="connsiteY21" fmla="*/ 2179 h 10000"/>
              <a:gd name="connsiteX22" fmla="*/ 1827 w 10000"/>
              <a:gd name="connsiteY22" fmla="*/ 2310 h 10000"/>
              <a:gd name="connsiteX23" fmla="*/ 1882 w 10000"/>
              <a:gd name="connsiteY23" fmla="*/ 1865 h 10000"/>
              <a:gd name="connsiteX24" fmla="*/ 1976 w 10000"/>
              <a:gd name="connsiteY24" fmla="*/ 2441 h 10000"/>
              <a:gd name="connsiteX25" fmla="*/ 1976 w 10000"/>
              <a:gd name="connsiteY25" fmla="*/ 2933 h 10000"/>
              <a:gd name="connsiteX26" fmla="*/ 2030 w 10000"/>
              <a:gd name="connsiteY26" fmla="*/ 3154 h 10000"/>
              <a:gd name="connsiteX27" fmla="*/ 2070 w 10000"/>
              <a:gd name="connsiteY27" fmla="*/ 2755 h 10000"/>
              <a:gd name="connsiteX28" fmla="*/ 2125 w 10000"/>
              <a:gd name="connsiteY28" fmla="*/ 3154 h 10000"/>
              <a:gd name="connsiteX29" fmla="*/ 2206 w 10000"/>
              <a:gd name="connsiteY29" fmla="*/ 1556 h 10000"/>
              <a:gd name="connsiteX30" fmla="*/ 2274 w 10000"/>
              <a:gd name="connsiteY30" fmla="*/ 3421 h 10000"/>
              <a:gd name="connsiteX31" fmla="*/ 2395 w 10000"/>
              <a:gd name="connsiteY31" fmla="*/ 2577 h 10000"/>
              <a:gd name="connsiteX32" fmla="*/ 2408 w 10000"/>
              <a:gd name="connsiteY32" fmla="*/ 2043 h 10000"/>
              <a:gd name="connsiteX33" fmla="*/ 2490 w 10000"/>
              <a:gd name="connsiteY33" fmla="*/ 2666 h 10000"/>
              <a:gd name="connsiteX34" fmla="*/ 2544 w 10000"/>
              <a:gd name="connsiteY34" fmla="*/ 2310 h 10000"/>
              <a:gd name="connsiteX35" fmla="*/ 2598 w 10000"/>
              <a:gd name="connsiteY35" fmla="*/ 2221 h 10000"/>
              <a:gd name="connsiteX36" fmla="*/ 2693 w 10000"/>
              <a:gd name="connsiteY36" fmla="*/ 1645 h 10000"/>
              <a:gd name="connsiteX37" fmla="*/ 2814 w 10000"/>
              <a:gd name="connsiteY37" fmla="*/ 1687 h 10000"/>
              <a:gd name="connsiteX38" fmla="*/ 3194 w 10000"/>
              <a:gd name="connsiteY38" fmla="*/ 2179 h 10000"/>
              <a:gd name="connsiteX39" fmla="*/ 3330 w 10000"/>
              <a:gd name="connsiteY39" fmla="*/ 4977 h 10000"/>
              <a:gd name="connsiteX40" fmla="*/ 3424 w 10000"/>
              <a:gd name="connsiteY40" fmla="*/ 5066 h 10000"/>
              <a:gd name="connsiteX41" fmla="*/ 3573 w 10000"/>
              <a:gd name="connsiteY41" fmla="*/ 4888 h 10000"/>
              <a:gd name="connsiteX42" fmla="*/ 3640 w 10000"/>
              <a:gd name="connsiteY42" fmla="*/ 4977 h 10000"/>
              <a:gd name="connsiteX43" fmla="*/ 3707 w 10000"/>
              <a:gd name="connsiteY43" fmla="*/ 4799 h 10000"/>
              <a:gd name="connsiteX44" fmla="*/ 3803 w 10000"/>
              <a:gd name="connsiteY44" fmla="*/ 1467 h 10000"/>
              <a:gd name="connsiteX45" fmla="*/ 3883 w 10000"/>
              <a:gd name="connsiteY45" fmla="*/ 1200 h 10000"/>
              <a:gd name="connsiteX46" fmla="*/ 4222 w 10000"/>
              <a:gd name="connsiteY46" fmla="*/ 6710 h 10000"/>
              <a:gd name="connsiteX47" fmla="*/ 4696 w 10000"/>
              <a:gd name="connsiteY47" fmla="*/ 6710 h 10000"/>
              <a:gd name="connsiteX48" fmla="*/ 5197 w 10000"/>
              <a:gd name="connsiteY48" fmla="*/ 754 h 10000"/>
              <a:gd name="connsiteX49" fmla="*/ 5534 w 10000"/>
              <a:gd name="connsiteY49" fmla="*/ 754 h 10000"/>
              <a:gd name="connsiteX50" fmla="*/ 5874 w 10000"/>
              <a:gd name="connsiteY50" fmla="*/ 1331 h 10000"/>
              <a:gd name="connsiteX51" fmla="*/ 5901 w 10000"/>
              <a:gd name="connsiteY51" fmla="*/ 712 h 10000"/>
              <a:gd name="connsiteX52" fmla="*/ 6035 w 10000"/>
              <a:gd name="connsiteY52" fmla="*/ 89 h 10000"/>
              <a:gd name="connsiteX53" fmla="*/ 6712 w 10000"/>
              <a:gd name="connsiteY53" fmla="*/ 0 h 10000"/>
              <a:gd name="connsiteX54" fmla="*/ 6942 w 10000"/>
              <a:gd name="connsiteY54" fmla="*/ 89 h 10000"/>
              <a:gd name="connsiteX55" fmla="*/ 7077 w 10000"/>
              <a:gd name="connsiteY55" fmla="*/ 356 h 10000"/>
              <a:gd name="connsiteX56" fmla="*/ 7443 w 10000"/>
              <a:gd name="connsiteY56" fmla="*/ 8754 h 10000"/>
              <a:gd name="connsiteX57" fmla="*/ 8214 w 10000"/>
              <a:gd name="connsiteY57" fmla="*/ 8711 h 10000"/>
              <a:gd name="connsiteX58" fmla="*/ 8376 w 10000"/>
              <a:gd name="connsiteY58" fmla="*/ 4667 h 10000"/>
              <a:gd name="connsiteX59" fmla="*/ 8552 w 10000"/>
              <a:gd name="connsiteY59" fmla="*/ 5019 h 10000"/>
              <a:gd name="connsiteX60" fmla="*/ 8646 w 10000"/>
              <a:gd name="connsiteY60" fmla="*/ 4709 h 10000"/>
              <a:gd name="connsiteX61" fmla="*/ 8688 w 10000"/>
              <a:gd name="connsiteY61" fmla="*/ 5197 h 10000"/>
              <a:gd name="connsiteX62" fmla="*/ 8728 w 10000"/>
              <a:gd name="connsiteY62" fmla="*/ 7287 h 10000"/>
              <a:gd name="connsiteX63" fmla="*/ 8810 w 10000"/>
              <a:gd name="connsiteY63" fmla="*/ 6396 h 10000"/>
              <a:gd name="connsiteX64" fmla="*/ 8904 w 10000"/>
              <a:gd name="connsiteY64" fmla="*/ 7821 h 10000"/>
              <a:gd name="connsiteX65" fmla="*/ 8958 w 10000"/>
              <a:gd name="connsiteY65" fmla="*/ 7910 h 10000"/>
              <a:gd name="connsiteX66" fmla="*/ 8998 w 10000"/>
              <a:gd name="connsiteY66" fmla="*/ 7821 h 10000"/>
              <a:gd name="connsiteX67" fmla="*/ 8998 w 10000"/>
              <a:gd name="connsiteY67" fmla="*/ 7643 h 10000"/>
              <a:gd name="connsiteX68" fmla="*/ 9107 w 10000"/>
              <a:gd name="connsiteY68" fmla="*/ 7821 h 10000"/>
              <a:gd name="connsiteX69" fmla="*/ 9174 w 10000"/>
              <a:gd name="connsiteY69" fmla="*/ 7685 h 10000"/>
              <a:gd name="connsiteX70" fmla="*/ 9202 w 10000"/>
              <a:gd name="connsiteY70" fmla="*/ 7334 h 10000"/>
              <a:gd name="connsiteX71" fmla="*/ 9243 w 10000"/>
              <a:gd name="connsiteY71" fmla="*/ 7685 h 10000"/>
              <a:gd name="connsiteX72" fmla="*/ 9310 w 10000"/>
              <a:gd name="connsiteY72" fmla="*/ 7512 h 10000"/>
              <a:gd name="connsiteX73" fmla="*/ 9418 w 10000"/>
              <a:gd name="connsiteY73" fmla="*/ 7554 h 10000"/>
              <a:gd name="connsiteX74" fmla="*/ 9445 w 10000"/>
              <a:gd name="connsiteY74" fmla="*/ 7774 h 10000"/>
              <a:gd name="connsiteX75" fmla="*/ 9486 w 10000"/>
              <a:gd name="connsiteY75" fmla="*/ 7821 h 10000"/>
              <a:gd name="connsiteX76" fmla="*/ 9526 w 10000"/>
              <a:gd name="connsiteY76" fmla="*/ 7685 h 10000"/>
              <a:gd name="connsiteX77" fmla="*/ 9581 w 10000"/>
              <a:gd name="connsiteY77" fmla="*/ 7774 h 10000"/>
              <a:gd name="connsiteX78" fmla="*/ 9635 w 10000"/>
              <a:gd name="connsiteY78" fmla="*/ 7245 h 10000"/>
              <a:gd name="connsiteX79" fmla="*/ 9717 w 10000"/>
              <a:gd name="connsiteY79" fmla="*/ 7821 h 10000"/>
              <a:gd name="connsiteX80" fmla="*/ 9824 w 10000"/>
              <a:gd name="connsiteY80" fmla="*/ 7465 h 10000"/>
              <a:gd name="connsiteX81" fmla="*/ 9851 w 10000"/>
              <a:gd name="connsiteY81" fmla="*/ 7245 h 10000"/>
              <a:gd name="connsiteX82" fmla="*/ 9918 w 10000"/>
              <a:gd name="connsiteY82" fmla="*/ 7465 h 10000"/>
              <a:gd name="connsiteX83" fmla="*/ 10000 w 10000"/>
              <a:gd name="connsiteY83" fmla="*/ 7376 h 10000"/>
              <a:gd name="connsiteX0" fmla="*/ 0 w 9780"/>
              <a:gd name="connsiteY0" fmla="*/ 10000 h 10000"/>
              <a:gd name="connsiteX1" fmla="*/ 442 w 9780"/>
              <a:gd name="connsiteY1" fmla="*/ 2165 h 10000"/>
              <a:gd name="connsiteX2" fmla="*/ 551 w 9780"/>
              <a:gd name="connsiteY2" fmla="*/ 2043 h 10000"/>
              <a:gd name="connsiteX3" fmla="*/ 618 w 9780"/>
              <a:gd name="connsiteY3" fmla="*/ 1687 h 10000"/>
              <a:gd name="connsiteX4" fmla="*/ 687 w 9780"/>
              <a:gd name="connsiteY4" fmla="*/ 1687 h 10000"/>
              <a:gd name="connsiteX5" fmla="*/ 727 w 9780"/>
              <a:gd name="connsiteY5" fmla="*/ 2441 h 10000"/>
              <a:gd name="connsiteX6" fmla="*/ 822 w 9780"/>
              <a:gd name="connsiteY6" fmla="*/ 1645 h 10000"/>
              <a:gd name="connsiteX7" fmla="*/ 930 w 9780"/>
              <a:gd name="connsiteY7" fmla="*/ 2441 h 10000"/>
              <a:gd name="connsiteX8" fmla="*/ 985 w 9780"/>
              <a:gd name="connsiteY8" fmla="*/ 1645 h 10000"/>
              <a:gd name="connsiteX9" fmla="*/ 1039 w 9780"/>
              <a:gd name="connsiteY9" fmla="*/ 1912 h 10000"/>
              <a:gd name="connsiteX10" fmla="*/ 1079 w 9780"/>
              <a:gd name="connsiteY10" fmla="*/ 1556 h 10000"/>
              <a:gd name="connsiteX11" fmla="*/ 1119 w 9780"/>
              <a:gd name="connsiteY11" fmla="*/ 2530 h 10000"/>
              <a:gd name="connsiteX12" fmla="*/ 1201 w 9780"/>
              <a:gd name="connsiteY12" fmla="*/ 1378 h 10000"/>
              <a:gd name="connsiteX13" fmla="*/ 1215 w 9780"/>
              <a:gd name="connsiteY13" fmla="*/ 2310 h 10000"/>
              <a:gd name="connsiteX14" fmla="*/ 1268 w 9780"/>
              <a:gd name="connsiteY14" fmla="*/ 2577 h 10000"/>
              <a:gd name="connsiteX15" fmla="*/ 1310 w 9780"/>
              <a:gd name="connsiteY15" fmla="*/ 2488 h 10000"/>
              <a:gd name="connsiteX16" fmla="*/ 1337 w 9780"/>
              <a:gd name="connsiteY16" fmla="*/ 1823 h 10000"/>
              <a:gd name="connsiteX17" fmla="*/ 1444 w 9780"/>
              <a:gd name="connsiteY17" fmla="*/ 2577 h 10000"/>
              <a:gd name="connsiteX18" fmla="*/ 1498 w 9780"/>
              <a:gd name="connsiteY18" fmla="*/ 2310 h 10000"/>
              <a:gd name="connsiteX19" fmla="*/ 1540 w 9780"/>
              <a:gd name="connsiteY19" fmla="*/ 1200 h 10000"/>
              <a:gd name="connsiteX20" fmla="*/ 1566 w 9780"/>
              <a:gd name="connsiteY20" fmla="*/ 2352 h 10000"/>
              <a:gd name="connsiteX21" fmla="*/ 1593 w 9780"/>
              <a:gd name="connsiteY21" fmla="*/ 2179 h 10000"/>
              <a:gd name="connsiteX22" fmla="*/ 1607 w 9780"/>
              <a:gd name="connsiteY22" fmla="*/ 2310 h 10000"/>
              <a:gd name="connsiteX23" fmla="*/ 1662 w 9780"/>
              <a:gd name="connsiteY23" fmla="*/ 1865 h 10000"/>
              <a:gd name="connsiteX24" fmla="*/ 1756 w 9780"/>
              <a:gd name="connsiteY24" fmla="*/ 2441 h 10000"/>
              <a:gd name="connsiteX25" fmla="*/ 1756 w 9780"/>
              <a:gd name="connsiteY25" fmla="*/ 2933 h 10000"/>
              <a:gd name="connsiteX26" fmla="*/ 1810 w 9780"/>
              <a:gd name="connsiteY26" fmla="*/ 3154 h 10000"/>
              <a:gd name="connsiteX27" fmla="*/ 1850 w 9780"/>
              <a:gd name="connsiteY27" fmla="*/ 2755 h 10000"/>
              <a:gd name="connsiteX28" fmla="*/ 1905 w 9780"/>
              <a:gd name="connsiteY28" fmla="*/ 3154 h 10000"/>
              <a:gd name="connsiteX29" fmla="*/ 1986 w 9780"/>
              <a:gd name="connsiteY29" fmla="*/ 1556 h 10000"/>
              <a:gd name="connsiteX30" fmla="*/ 2054 w 9780"/>
              <a:gd name="connsiteY30" fmla="*/ 3421 h 10000"/>
              <a:gd name="connsiteX31" fmla="*/ 2175 w 9780"/>
              <a:gd name="connsiteY31" fmla="*/ 2577 h 10000"/>
              <a:gd name="connsiteX32" fmla="*/ 2188 w 9780"/>
              <a:gd name="connsiteY32" fmla="*/ 2043 h 10000"/>
              <a:gd name="connsiteX33" fmla="*/ 2270 w 9780"/>
              <a:gd name="connsiteY33" fmla="*/ 2666 h 10000"/>
              <a:gd name="connsiteX34" fmla="*/ 2324 w 9780"/>
              <a:gd name="connsiteY34" fmla="*/ 2310 h 10000"/>
              <a:gd name="connsiteX35" fmla="*/ 2378 w 9780"/>
              <a:gd name="connsiteY35" fmla="*/ 2221 h 10000"/>
              <a:gd name="connsiteX36" fmla="*/ 2473 w 9780"/>
              <a:gd name="connsiteY36" fmla="*/ 1645 h 10000"/>
              <a:gd name="connsiteX37" fmla="*/ 2594 w 9780"/>
              <a:gd name="connsiteY37" fmla="*/ 1687 h 10000"/>
              <a:gd name="connsiteX38" fmla="*/ 2974 w 9780"/>
              <a:gd name="connsiteY38" fmla="*/ 2179 h 10000"/>
              <a:gd name="connsiteX39" fmla="*/ 3110 w 9780"/>
              <a:gd name="connsiteY39" fmla="*/ 4977 h 10000"/>
              <a:gd name="connsiteX40" fmla="*/ 3204 w 9780"/>
              <a:gd name="connsiteY40" fmla="*/ 5066 h 10000"/>
              <a:gd name="connsiteX41" fmla="*/ 3353 w 9780"/>
              <a:gd name="connsiteY41" fmla="*/ 4888 h 10000"/>
              <a:gd name="connsiteX42" fmla="*/ 3420 w 9780"/>
              <a:gd name="connsiteY42" fmla="*/ 4977 h 10000"/>
              <a:gd name="connsiteX43" fmla="*/ 3487 w 9780"/>
              <a:gd name="connsiteY43" fmla="*/ 4799 h 10000"/>
              <a:gd name="connsiteX44" fmla="*/ 3583 w 9780"/>
              <a:gd name="connsiteY44" fmla="*/ 1467 h 10000"/>
              <a:gd name="connsiteX45" fmla="*/ 3663 w 9780"/>
              <a:gd name="connsiteY45" fmla="*/ 1200 h 10000"/>
              <a:gd name="connsiteX46" fmla="*/ 4002 w 9780"/>
              <a:gd name="connsiteY46" fmla="*/ 6710 h 10000"/>
              <a:gd name="connsiteX47" fmla="*/ 4476 w 9780"/>
              <a:gd name="connsiteY47" fmla="*/ 6710 h 10000"/>
              <a:gd name="connsiteX48" fmla="*/ 4977 w 9780"/>
              <a:gd name="connsiteY48" fmla="*/ 754 h 10000"/>
              <a:gd name="connsiteX49" fmla="*/ 5314 w 9780"/>
              <a:gd name="connsiteY49" fmla="*/ 754 h 10000"/>
              <a:gd name="connsiteX50" fmla="*/ 5654 w 9780"/>
              <a:gd name="connsiteY50" fmla="*/ 1331 h 10000"/>
              <a:gd name="connsiteX51" fmla="*/ 5681 w 9780"/>
              <a:gd name="connsiteY51" fmla="*/ 712 h 10000"/>
              <a:gd name="connsiteX52" fmla="*/ 5815 w 9780"/>
              <a:gd name="connsiteY52" fmla="*/ 89 h 10000"/>
              <a:gd name="connsiteX53" fmla="*/ 6492 w 9780"/>
              <a:gd name="connsiteY53" fmla="*/ 0 h 10000"/>
              <a:gd name="connsiteX54" fmla="*/ 6722 w 9780"/>
              <a:gd name="connsiteY54" fmla="*/ 89 h 10000"/>
              <a:gd name="connsiteX55" fmla="*/ 6857 w 9780"/>
              <a:gd name="connsiteY55" fmla="*/ 356 h 10000"/>
              <a:gd name="connsiteX56" fmla="*/ 7223 w 9780"/>
              <a:gd name="connsiteY56" fmla="*/ 8754 h 10000"/>
              <a:gd name="connsiteX57" fmla="*/ 7994 w 9780"/>
              <a:gd name="connsiteY57" fmla="*/ 8711 h 10000"/>
              <a:gd name="connsiteX58" fmla="*/ 8156 w 9780"/>
              <a:gd name="connsiteY58" fmla="*/ 4667 h 10000"/>
              <a:gd name="connsiteX59" fmla="*/ 8332 w 9780"/>
              <a:gd name="connsiteY59" fmla="*/ 5019 h 10000"/>
              <a:gd name="connsiteX60" fmla="*/ 8426 w 9780"/>
              <a:gd name="connsiteY60" fmla="*/ 4709 h 10000"/>
              <a:gd name="connsiteX61" fmla="*/ 8468 w 9780"/>
              <a:gd name="connsiteY61" fmla="*/ 5197 h 10000"/>
              <a:gd name="connsiteX62" fmla="*/ 8508 w 9780"/>
              <a:gd name="connsiteY62" fmla="*/ 7287 h 10000"/>
              <a:gd name="connsiteX63" fmla="*/ 8590 w 9780"/>
              <a:gd name="connsiteY63" fmla="*/ 6396 h 10000"/>
              <a:gd name="connsiteX64" fmla="*/ 8684 w 9780"/>
              <a:gd name="connsiteY64" fmla="*/ 7821 h 10000"/>
              <a:gd name="connsiteX65" fmla="*/ 8738 w 9780"/>
              <a:gd name="connsiteY65" fmla="*/ 7910 h 10000"/>
              <a:gd name="connsiteX66" fmla="*/ 8778 w 9780"/>
              <a:gd name="connsiteY66" fmla="*/ 7821 h 10000"/>
              <a:gd name="connsiteX67" fmla="*/ 8778 w 9780"/>
              <a:gd name="connsiteY67" fmla="*/ 7643 h 10000"/>
              <a:gd name="connsiteX68" fmla="*/ 8887 w 9780"/>
              <a:gd name="connsiteY68" fmla="*/ 7821 h 10000"/>
              <a:gd name="connsiteX69" fmla="*/ 8954 w 9780"/>
              <a:gd name="connsiteY69" fmla="*/ 7685 h 10000"/>
              <a:gd name="connsiteX70" fmla="*/ 8982 w 9780"/>
              <a:gd name="connsiteY70" fmla="*/ 7334 h 10000"/>
              <a:gd name="connsiteX71" fmla="*/ 9023 w 9780"/>
              <a:gd name="connsiteY71" fmla="*/ 7685 h 10000"/>
              <a:gd name="connsiteX72" fmla="*/ 9090 w 9780"/>
              <a:gd name="connsiteY72" fmla="*/ 7512 h 10000"/>
              <a:gd name="connsiteX73" fmla="*/ 9198 w 9780"/>
              <a:gd name="connsiteY73" fmla="*/ 7554 h 10000"/>
              <a:gd name="connsiteX74" fmla="*/ 9225 w 9780"/>
              <a:gd name="connsiteY74" fmla="*/ 7774 h 10000"/>
              <a:gd name="connsiteX75" fmla="*/ 9266 w 9780"/>
              <a:gd name="connsiteY75" fmla="*/ 7821 h 10000"/>
              <a:gd name="connsiteX76" fmla="*/ 9306 w 9780"/>
              <a:gd name="connsiteY76" fmla="*/ 7685 h 10000"/>
              <a:gd name="connsiteX77" fmla="*/ 9361 w 9780"/>
              <a:gd name="connsiteY77" fmla="*/ 7774 h 10000"/>
              <a:gd name="connsiteX78" fmla="*/ 9415 w 9780"/>
              <a:gd name="connsiteY78" fmla="*/ 7245 h 10000"/>
              <a:gd name="connsiteX79" fmla="*/ 9497 w 9780"/>
              <a:gd name="connsiteY79" fmla="*/ 7821 h 10000"/>
              <a:gd name="connsiteX80" fmla="*/ 9604 w 9780"/>
              <a:gd name="connsiteY80" fmla="*/ 7465 h 10000"/>
              <a:gd name="connsiteX81" fmla="*/ 9631 w 9780"/>
              <a:gd name="connsiteY81" fmla="*/ 7245 h 10000"/>
              <a:gd name="connsiteX82" fmla="*/ 9698 w 9780"/>
              <a:gd name="connsiteY82" fmla="*/ 7465 h 10000"/>
              <a:gd name="connsiteX83" fmla="*/ 9780 w 978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51 w 10000"/>
              <a:gd name="connsiteY7" fmla="*/ 2441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44 w 10000"/>
              <a:gd name="connsiteY11" fmla="*/ 2530 h 10000"/>
              <a:gd name="connsiteX12" fmla="*/ 1228 w 10000"/>
              <a:gd name="connsiteY12" fmla="*/ 1378 h 10000"/>
              <a:gd name="connsiteX13" fmla="*/ 1242 w 10000"/>
              <a:gd name="connsiteY13" fmla="*/ 2310 h 10000"/>
              <a:gd name="connsiteX14" fmla="*/ 1297 w 10000"/>
              <a:gd name="connsiteY14" fmla="*/ 2577 h 10000"/>
              <a:gd name="connsiteX15" fmla="*/ 1339 w 10000"/>
              <a:gd name="connsiteY15" fmla="*/ 2488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44 w 10000"/>
              <a:gd name="connsiteY11" fmla="*/ 2530 h 10000"/>
              <a:gd name="connsiteX12" fmla="*/ 1228 w 10000"/>
              <a:gd name="connsiteY12" fmla="*/ 1378 h 10000"/>
              <a:gd name="connsiteX13" fmla="*/ 1242 w 10000"/>
              <a:gd name="connsiteY13" fmla="*/ 2310 h 10000"/>
              <a:gd name="connsiteX14" fmla="*/ 1297 w 10000"/>
              <a:gd name="connsiteY14" fmla="*/ 2577 h 10000"/>
              <a:gd name="connsiteX15" fmla="*/ 1339 w 10000"/>
              <a:gd name="connsiteY15" fmla="*/ 2488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42 w 10000"/>
              <a:gd name="connsiteY13" fmla="*/ 2310 h 10000"/>
              <a:gd name="connsiteX14" fmla="*/ 1297 w 10000"/>
              <a:gd name="connsiteY14" fmla="*/ 2577 h 10000"/>
              <a:gd name="connsiteX15" fmla="*/ 1339 w 10000"/>
              <a:gd name="connsiteY15" fmla="*/ 2488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42 w 10000"/>
              <a:gd name="connsiteY13" fmla="*/ 2310 h 10000"/>
              <a:gd name="connsiteX14" fmla="*/ 1294 w 10000"/>
              <a:gd name="connsiteY14" fmla="*/ 2726 h 10000"/>
              <a:gd name="connsiteX15" fmla="*/ 1339 w 10000"/>
              <a:gd name="connsiteY15" fmla="*/ 2488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42 w 10000"/>
              <a:gd name="connsiteY13" fmla="*/ 2310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76 w 10000"/>
              <a:gd name="connsiteY17" fmla="*/ 2577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2 w 10000"/>
              <a:gd name="connsiteY18" fmla="*/ 231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352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3 w 10000"/>
              <a:gd name="connsiteY22" fmla="*/ 2310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1 w 10000"/>
              <a:gd name="connsiteY26" fmla="*/ 3154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6 w 10000"/>
              <a:gd name="connsiteY25" fmla="*/ 293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8 w 10000"/>
              <a:gd name="connsiteY28" fmla="*/ 3154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100 w 10000"/>
              <a:gd name="connsiteY30" fmla="*/ 3421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21 w 10000"/>
              <a:gd name="connsiteY33" fmla="*/ 2666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52 w 10000"/>
              <a:gd name="connsiteY37" fmla="*/ 1687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041 w 10000"/>
              <a:gd name="connsiteY38" fmla="*/ 2179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180 w 10000"/>
              <a:gd name="connsiteY39" fmla="*/ 4977 h 10000"/>
              <a:gd name="connsiteX40" fmla="*/ 3276 w 10000"/>
              <a:gd name="connsiteY40" fmla="*/ 5066 h 10000"/>
              <a:gd name="connsiteX41" fmla="*/ 3428 w 10000"/>
              <a:gd name="connsiteY41" fmla="*/ 4888 h 10000"/>
              <a:gd name="connsiteX42" fmla="*/ 3497 w 10000"/>
              <a:gd name="connsiteY42" fmla="*/ 4977 h 10000"/>
              <a:gd name="connsiteX43" fmla="*/ 3565 w 10000"/>
              <a:gd name="connsiteY43" fmla="*/ 4799 h 10000"/>
              <a:gd name="connsiteX44" fmla="*/ 3664 w 10000"/>
              <a:gd name="connsiteY44" fmla="*/ 1467 h 10000"/>
              <a:gd name="connsiteX45" fmla="*/ 3745 w 10000"/>
              <a:gd name="connsiteY45" fmla="*/ 1200 h 10000"/>
              <a:gd name="connsiteX46" fmla="*/ 4092 w 10000"/>
              <a:gd name="connsiteY46" fmla="*/ 6710 h 10000"/>
              <a:gd name="connsiteX47" fmla="*/ 4577 w 10000"/>
              <a:gd name="connsiteY47" fmla="*/ 6710 h 10000"/>
              <a:gd name="connsiteX48" fmla="*/ 5089 w 10000"/>
              <a:gd name="connsiteY48" fmla="*/ 754 h 10000"/>
              <a:gd name="connsiteX49" fmla="*/ 5434 w 10000"/>
              <a:gd name="connsiteY49" fmla="*/ 754 h 10000"/>
              <a:gd name="connsiteX50" fmla="*/ 5781 w 10000"/>
              <a:gd name="connsiteY50" fmla="*/ 1331 h 10000"/>
              <a:gd name="connsiteX51" fmla="*/ 5809 w 10000"/>
              <a:gd name="connsiteY51" fmla="*/ 712 h 10000"/>
              <a:gd name="connsiteX52" fmla="*/ 5946 w 10000"/>
              <a:gd name="connsiteY52" fmla="*/ 89 h 10000"/>
              <a:gd name="connsiteX53" fmla="*/ 6638 w 10000"/>
              <a:gd name="connsiteY53" fmla="*/ 0 h 10000"/>
              <a:gd name="connsiteX54" fmla="*/ 6873 w 10000"/>
              <a:gd name="connsiteY54" fmla="*/ 89 h 10000"/>
              <a:gd name="connsiteX55" fmla="*/ 7011 w 10000"/>
              <a:gd name="connsiteY55" fmla="*/ 356 h 10000"/>
              <a:gd name="connsiteX56" fmla="*/ 7385 w 10000"/>
              <a:gd name="connsiteY56" fmla="*/ 8754 h 10000"/>
              <a:gd name="connsiteX57" fmla="*/ 8174 w 10000"/>
              <a:gd name="connsiteY57" fmla="*/ 8711 h 10000"/>
              <a:gd name="connsiteX58" fmla="*/ 8339 w 10000"/>
              <a:gd name="connsiteY58" fmla="*/ 4667 h 10000"/>
              <a:gd name="connsiteX59" fmla="*/ 8519 w 10000"/>
              <a:gd name="connsiteY59" fmla="*/ 5019 h 10000"/>
              <a:gd name="connsiteX60" fmla="*/ 8616 w 10000"/>
              <a:gd name="connsiteY60" fmla="*/ 4709 h 10000"/>
              <a:gd name="connsiteX61" fmla="*/ 8658 w 10000"/>
              <a:gd name="connsiteY61" fmla="*/ 5197 h 10000"/>
              <a:gd name="connsiteX62" fmla="*/ 8699 w 10000"/>
              <a:gd name="connsiteY62" fmla="*/ 7287 h 10000"/>
              <a:gd name="connsiteX63" fmla="*/ 8783 w 10000"/>
              <a:gd name="connsiteY63" fmla="*/ 6396 h 10000"/>
              <a:gd name="connsiteX64" fmla="*/ 8879 w 10000"/>
              <a:gd name="connsiteY64" fmla="*/ 7821 h 10000"/>
              <a:gd name="connsiteX65" fmla="*/ 8935 w 10000"/>
              <a:gd name="connsiteY65" fmla="*/ 7910 h 10000"/>
              <a:gd name="connsiteX66" fmla="*/ 8975 w 10000"/>
              <a:gd name="connsiteY66" fmla="*/ 7821 h 10000"/>
              <a:gd name="connsiteX67" fmla="*/ 8975 w 10000"/>
              <a:gd name="connsiteY67" fmla="*/ 7643 h 10000"/>
              <a:gd name="connsiteX68" fmla="*/ 9087 w 10000"/>
              <a:gd name="connsiteY68" fmla="*/ 7821 h 10000"/>
              <a:gd name="connsiteX69" fmla="*/ 9155 w 10000"/>
              <a:gd name="connsiteY69" fmla="*/ 7685 h 10000"/>
              <a:gd name="connsiteX70" fmla="*/ 9184 w 10000"/>
              <a:gd name="connsiteY70" fmla="*/ 7334 h 10000"/>
              <a:gd name="connsiteX71" fmla="*/ 9226 w 10000"/>
              <a:gd name="connsiteY71" fmla="*/ 7685 h 10000"/>
              <a:gd name="connsiteX72" fmla="*/ 9294 w 10000"/>
              <a:gd name="connsiteY72" fmla="*/ 7512 h 10000"/>
              <a:gd name="connsiteX73" fmla="*/ 9405 w 10000"/>
              <a:gd name="connsiteY73" fmla="*/ 7554 h 10000"/>
              <a:gd name="connsiteX74" fmla="*/ 9433 w 10000"/>
              <a:gd name="connsiteY74" fmla="*/ 7774 h 10000"/>
              <a:gd name="connsiteX75" fmla="*/ 9474 w 10000"/>
              <a:gd name="connsiteY75" fmla="*/ 7821 h 10000"/>
              <a:gd name="connsiteX76" fmla="*/ 9515 w 10000"/>
              <a:gd name="connsiteY76" fmla="*/ 7685 h 10000"/>
              <a:gd name="connsiteX77" fmla="*/ 9572 w 10000"/>
              <a:gd name="connsiteY77" fmla="*/ 7774 h 10000"/>
              <a:gd name="connsiteX78" fmla="*/ 9627 w 10000"/>
              <a:gd name="connsiteY78" fmla="*/ 7245 h 10000"/>
              <a:gd name="connsiteX79" fmla="*/ 9711 w 10000"/>
              <a:gd name="connsiteY79" fmla="*/ 7821 h 10000"/>
              <a:gd name="connsiteX80" fmla="*/ 9820 w 10000"/>
              <a:gd name="connsiteY80" fmla="*/ 7465 h 10000"/>
              <a:gd name="connsiteX81" fmla="*/ 9848 w 10000"/>
              <a:gd name="connsiteY81" fmla="*/ 7245 h 10000"/>
              <a:gd name="connsiteX82" fmla="*/ 9916 w 10000"/>
              <a:gd name="connsiteY82" fmla="*/ 7465 h 10000"/>
              <a:gd name="connsiteX83" fmla="*/ 10000 w 10000"/>
              <a:gd name="connsiteY83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76 w 10000"/>
              <a:gd name="connsiteY39" fmla="*/ 5066 h 10000"/>
              <a:gd name="connsiteX40" fmla="*/ 3428 w 10000"/>
              <a:gd name="connsiteY40" fmla="*/ 4888 h 10000"/>
              <a:gd name="connsiteX41" fmla="*/ 3497 w 10000"/>
              <a:gd name="connsiteY41" fmla="*/ 4977 h 10000"/>
              <a:gd name="connsiteX42" fmla="*/ 3565 w 10000"/>
              <a:gd name="connsiteY42" fmla="*/ 4799 h 10000"/>
              <a:gd name="connsiteX43" fmla="*/ 3664 w 10000"/>
              <a:gd name="connsiteY43" fmla="*/ 1467 h 10000"/>
              <a:gd name="connsiteX44" fmla="*/ 3745 w 10000"/>
              <a:gd name="connsiteY44" fmla="*/ 1200 h 10000"/>
              <a:gd name="connsiteX45" fmla="*/ 4092 w 10000"/>
              <a:gd name="connsiteY45" fmla="*/ 6710 h 10000"/>
              <a:gd name="connsiteX46" fmla="*/ 4577 w 10000"/>
              <a:gd name="connsiteY46" fmla="*/ 6710 h 10000"/>
              <a:gd name="connsiteX47" fmla="*/ 5089 w 10000"/>
              <a:gd name="connsiteY47" fmla="*/ 754 h 10000"/>
              <a:gd name="connsiteX48" fmla="*/ 5434 w 10000"/>
              <a:gd name="connsiteY48" fmla="*/ 754 h 10000"/>
              <a:gd name="connsiteX49" fmla="*/ 5781 w 10000"/>
              <a:gd name="connsiteY49" fmla="*/ 1331 h 10000"/>
              <a:gd name="connsiteX50" fmla="*/ 5809 w 10000"/>
              <a:gd name="connsiteY50" fmla="*/ 712 h 10000"/>
              <a:gd name="connsiteX51" fmla="*/ 5946 w 10000"/>
              <a:gd name="connsiteY51" fmla="*/ 89 h 10000"/>
              <a:gd name="connsiteX52" fmla="*/ 6638 w 10000"/>
              <a:gd name="connsiteY52" fmla="*/ 0 h 10000"/>
              <a:gd name="connsiteX53" fmla="*/ 6873 w 10000"/>
              <a:gd name="connsiteY53" fmla="*/ 89 h 10000"/>
              <a:gd name="connsiteX54" fmla="*/ 7011 w 10000"/>
              <a:gd name="connsiteY54" fmla="*/ 356 h 10000"/>
              <a:gd name="connsiteX55" fmla="*/ 7385 w 10000"/>
              <a:gd name="connsiteY55" fmla="*/ 8754 h 10000"/>
              <a:gd name="connsiteX56" fmla="*/ 8174 w 10000"/>
              <a:gd name="connsiteY56" fmla="*/ 8711 h 10000"/>
              <a:gd name="connsiteX57" fmla="*/ 8339 w 10000"/>
              <a:gd name="connsiteY57" fmla="*/ 4667 h 10000"/>
              <a:gd name="connsiteX58" fmla="*/ 8519 w 10000"/>
              <a:gd name="connsiteY58" fmla="*/ 5019 h 10000"/>
              <a:gd name="connsiteX59" fmla="*/ 8616 w 10000"/>
              <a:gd name="connsiteY59" fmla="*/ 4709 h 10000"/>
              <a:gd name="connsiteX60" fmla="*/ 8658 w 10000"/>
              <a:gd name="connsiteY60" fmla="*/ 5197 h 10000"/>
              <a:gd name="connsiteX61" fmla="*/ 8699 w 10000"/>
              <a:gd name="connsiteY61" fmla="*/ 7287 h 10000"/>
              <a:gd name="connsiteX62" fmla="*/ 8783 w 10000"/>
              <a:gd name="connsiteY62" fmla="*/ 6396 h 10000"/>
              <a:gd name="connsiteX63" fmla="*/ 8879 w 10000"/>
              <a:gd name="connsiteY63" fmla="*/ 7821 h 10000"/>
              <a:gd name="connsiteX64" fmla="*/ 8935 w 10000"/>
              <a:gd name="connsiteY64" fmla="*/ 7910 h 10000"/>
              <a:gd name="connsiteX65" fmla="*/ 8975 w 10000"/>
              <a:gd name="connsiteY65" fmla="*/ 7821 h 10000"/>
              <a:gd name="connsiteX66" fmla="*/ 8975 w 10000"/>
              <a:gd name="connsiteY66" fmla="*/ 7643 h 10000"/>
              <a:gd name="connsiteX67" fmla="*/ 9087 w 10000"/>
              <a:gd name="connsiteY67" fmla="*/ 7821 h 10000"/>
              <a:gd name="connsiteX68" fmla="*/ 9155 w 10000"/>
              <a:gd name="connsiteY68" fmla="*/ 7685 h 10000"/>
              <a:gd name="connsiteX69" fmla="*/ 9184 w 10000"/>
              <a:gd name="connsiteY69" fmla="*/ 7334 h 10000"/>
              <a:gd name="connsiteX70" fmla="*/ 9226 w 10000"/>
              <a:gd name="connsiteY70" fmla="*/ 7685 h 10000"/>
              <a:gd name="connsiteX71" fmla="*/ 9294 w 10000"/>
              <a:gd name="connsiteY71" fmla="*/ 7512 h 10000"/>
              <a:gd name="connsiteX72" fmla="*/ 9405 w 10000"/>
              <a:gd name="connsiteY72" fmla="*/ 7554 h 10000"/>
              <a:gd name="connsiteX73" fmla="*/ 9433 w 10000"/>
              <a:gd name="connsiteY73" fmla="*/ 7774 h 10000"/>
              <a:gd name="connsiteX74" fmla="*/ 9474 w 10000"/>
              <a:gd name="connsiteY74" fmla="*/ 7821 h 10000"/>
              <a:gd name="connsiteX75" fmla="*/ 9515 w 10000"/>
              <a:gd name="connsiteY75" fmla="*/ 7685 h 10000"/>
              <a:gd name="connsiteX76" fmla="*/ 9572 w 10000"/>
              <a:gd name="connsiteY76" fmla="*/ 7774 h 10000"/>
              <a:gd name="connsiteX77" fmla="*/ 9627 w 10000"/>
              <a:gd name="connsiteY77" fmla="*/ 7245 h 10000"/>
              <a:gd name="connsiteX78" fmla="*/ 9711 w 10000"/>
              <a:gd name="connsiteY78" fmla="*/ 7821 h 10000"/>
              <a:gd name="connsiteX79" fmla="*/ 9820 w 10000"/>
              <a:gd name="connsiteY79" fmla="*/ 7465 h 10000"/>
              <a:gd name="connsiteX80" fmla="*/ 9848 w 10000"/>
              <a:gd name="connsiteY80" fmla="*/ 7245 h 10000"/>
              <a:gd name="connsiteX81" fmla="*/ 9916 w 10000"/>
              <a:gd name="connsiteY81" fmla="*/ 7465 h 10000"/>
              <a:gd name="connsiteX82" fmla="*/ 10000 w 10000"/>
              <a:gd name="connsiteY82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428 w 10000"/>
              <a:gd name="connsiteY40" fmla="*/ 4888 h 10000"/>
              <a:gd name="connsiteX41" fmla="*/ 3497 w 10000"/>
              <a:gd name="connsiteY41" fmla="*/ 4977 h 10000"/>
              <a:gd name="connsiteX42" fmla="*/ 3565 w 10000"/>
              <a:gd name="connsiteY42" fmla="*/ 4799 h 10000"/>
              <a:gd name="connsiteX43" fmla="*/ 3664 w 10000"/>
              <a:gd name="connsiteY43" fmla="*/ 1467 h 10000"/>
              <a:gd name="connsiteX44" fmla="*/ 3745 w 10000"/>
              <a:gd name="connsiteY44" fmla="*/ 1200 h 10000"/>
              <a:gd name="connsiteX45" fmla="*/ 4092 w 10000"/>
              <a:gd name="connsiteY45" fmla="*/ 6710 h 10000"/>
              <a:gd name="connsiteX46" fmla="*/ 4577 w 10000"/>
              <a:gd name="connsiteY46" fmla="*/ 6710 h 10000"/>
              <a:gd name="connsiteX47" fmla="*/ 5089 w 10000"/>
              <a:gd name="connsiteY47" fmla="*/ 754 h 10000"/>
              <a:gd name="connsiteX48" fmla="*/ 5434 w 10000"/>
              <a:gd name="connsiteY48" fmla="*/ 754 h 10000"/>
              <a:gd name="connsiteX49" fmla="*/ 5781 w 10000"/>
              <a:gd name="connsiteY49" fmla="*/ 1331 h 10000"/>
              <a:gd name="connsiteX50" fmla="*/ 5809 w 10000"/>
              <a:gd name="connsiteY50" fmla="*/ 712 h 10000"/>
              <a:gd name="connsiteX51" fmla="*/ 5946 w 10000"/>
              <a:gd name="connsiteY51" fmla="*/ 89 h 10000"/>
              <a:gd name="connsiteX52" fmla="*/ 6638 w 10000"/>
              <a:gd name="connsiteY52" fmla="*/ 0 h 10000"/>
              <a:gd name="connsiteX53" fmla="*/ 6873 w 10000"/>
              <a:gd name="connsiteY53" fmla="*/ 89 h 10000"/>
              <a:gd name="connsiteX54" fmla="*/ 7011 w 10000"/>
              <a:gd name="connsiteY54" fmla="*/ 356 h 10000"/>
              <a:gd name="connsiteX55" fmla="*/ 7385 w 10000"/>
              <a:gd name="connsiteY55" fmla="*/ 8754 h 10000"/>
              <a:gd name="connsiteX56" fmla="*/ 8174 w 10000"/>
              <a:gd name="connsiteY56" fmla="*/ 8711 h 10000"/>
              <a:gd name="connsiteX57" fmla="*/ 8339 w 10000"/>
              <a:gd name="connsiteY57" fmla="*/ 4667 h 10000"/>
              <a:gd name="connsiteX58" fmla="*/ 8519 w 10000"/>
              <a:gd name="connsiteY58" fmla="*/ 5019 h 10000"/>
              <a:gd name="connsiteX59" fmla="*/ 8616 w 10000"/>
              <a:gd name="connsiteY59" fmla="*/ 4709 h 10000"/>
              <a:gd name="connsiteX60" fmla="*/ 8658 w 10000"/>
              <a:gd name="connsiteY60" fmla="*/ 5197 h 10000"/>
              <a:gd name="connsiteX61" fmla="*/ 8699 w 10000"/>
              <a:gd name="connsiteY61" fmla="*/ 7287 h 10000"/>
              <a:gd name="connsiteX62" fmla="*/ 8783 w 10000"/>
              <a:gd name="connsiteY62" fmla="*/ 6396 h 10000"/>
              <a:gd name="connsiteX63" fmla="*/ 8879 w 10000"/>
              <a:gd name="connsiteY63" fmla="*/ 7821 h 10000"/>
              <a:gd name="connsiteX64" fmla="*/ 8935 w 10000"/>
              <a:gd name="connsiteY64" fmla="*/ 7910 h 10000"/>
              <a:gd name="connsiteX65" fmla="*/ 8975 w 10000"/>
              <a:gd name="connsiteY65" fmla="*/ 7821 h 10000"/>
              <a:gd name="connsiteX66" fmla="*/ 8975 w 10000"/>
              <a:gd name="connsiteY66" fmla="*/ 7643 h 10000"/>
              <a:gd name="connsiteX67" fmla="*/ 9087 w 10000"/>
              <a:gd name="connsiteY67" fmla="*/ 7821 h 10000"/>
              <a:gd name="connsiteX68" fmla="*/ 9155 w 10000"/>
              <a:gd name="connsiteY68" fmla="*/ 7685 h 10000"/>
              <a:gd name="connsiteX69" fmla="*/ 9184 w 10000"/>
              <a:gd name="connsiteY69" fmla="*/ 7334 h 10000"/>
              <a:gd name="connsiteX70" fmla="*/ 9226 w 10000"/>
              <a:gd name="connsiteY70" fmla="*/ 7685 h 10000"/>
              <a:gd name="connsiteX71" fmla="*/ 9294 w 10000"/>
              <a:gd name="connsiteY71" fmla="*/ 7512 h 10000"/>
              <a:gd name="connsiteX72" fmla="*/ 9405 w 10000"/>
              <a:gd name="connsiteY72" fmla="*/ 7554 h 10000"/>
              <a:gd name="connsiteX73" fmla="*/ 9433 w 10000"/>
              <a:gd name="connsiteY73" fmla="*/ 7774 h 10000"/>
              <a:gd name="connsiteX74" fmla="*/ 9474 w 10000"/>
              <a:gd name="connsiteY74" fmla="*/ 7821 h 10000"/>
              <a:gd name="connsiteX75" fmla="*/ 9515 w 10000"/>
              <a:gd name="connsiteY75" fmla="*/ 7685 h 10000"/>
              <a:gd name="connsiteX76" fmla="*/ 9572 w 10000"/>
              <a:gd name="connsiteY76" fmla="*/ 7774 h 10000"/>
              <a:gd name="connsiteX77" fmla="*/ 9627 w 10000"/>
              <a:gd name="connsiteY77" fmla="*/ 7245 h 10000"/>
              <a:gd name="connsiteX78" fmla="*/ 9711 w 10000"/>
              <a:gd name="connsiteY78" fmla="*/ 7821 h 10000"/>
              <a:gd name="connsiteX79" fmla="*/ 9820 w 10000"/>
              <a:gd name="connsiteY79" fmla="*/ 7465 h 10000"/>
              <a:gd name="connsiteX80" fmla="*/ 9848 w 10000"/>
              <a:gd name="connsiteY80" fmla="*/ 7245 h 10000"/>
              <a:gd name="connsiteX81" fmla="*/ 9916 w 10000"/>
              <a:gd name="connsiteY81" fmla="*/ 7465 h 10000"/>
              <a:gd name="connsiteX82" fmla="*/ 10000 w 10000"/>
              <a:gd name="connsiteY82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428 w 10000"/>
              <a:gd name="connsiteY40" fmla="*/ 4888 h 10000"/>
              <a:gd name="connsiteX41" fmla="*/ 3497 w 10000"/>
              <a:gd name="connsiteY41" fmla="*/ 4977 h 10000"/>
              <a:gd name="connsiteX42" fmla="*/ 3565 w 10000"/>
              <a:gd name="connsiteY42" fmla="*/ 4799 h 10000"/>
              <a:gd name="connsiteX43" fmla="*/ 3664 w 10000"/>
              <a:gd name="connsiteY43" fmla="*/ 1467 h 10000"/>
              <a:gd name="connsiteX44" fmla="*/ 3745 w 10000"/>
              <a:gd name="connsiteY44" fmla="*/ 1200 h 10000"/>
              <a:gd name="connsiteX45" fmla="*/ 4092 w 10000"/>
              <a:gd name="connsiteY45" fmla="*/ 6710 h 10000"/>
              <a:gd name="connsiteX46" fmla="*/ 4577 w 10000"/>
              <a:gd name="connsiteY46" fmla="*/ 6710 h 10000"/>
              <a:gd name="connsiteX47" fmla="*/ 5089 w 10000"/>
              <a:gd name="connsiteY47" fmla="*/ 754 h 10000"/>
              <a:gd name="connsiteX48" fmla="*/ 5434 w 10000"/>
              <a:gd name="connsiteY48" fmla="*/ 754 h 10000"/>
              <a:gd name="connsiteX49" fmla="*/ 5781 w 10000"/>
              <a:gd name="connsiteY49" fmla="*/ 1331 h 10000"/>
              <a:gd name="connsiteX50" fmla="*/ 5809 w 10000"/>
              <a:gd name="connsiteY50" fmla="*/ 712 h 10000"/>
              <a:gd name="connsiteX51" fmla="*/ 5946 w 10000"/>
              <a:gd name="connsiteY51" fmla="*/ 89 h 10000"/>
              <a:gd name="connsiteX52" fmla="*/ 6638 w 10000"/>
              <a:gd name="connsiteY52" fmla="*/ 0 h 10000"/>
              <a:gd name="connsiteX53" fmla="*/ 6873 w 10000"/>
              <a:gd name="connsiteY53" fmla="*/ 89 h 10000"/>
              <a:gd name="connsiteX54" fmla="*/ 7011 w 10000"/>
              <a:gd name="connsiteY54" fmla="*/ 356 h 10000"/>
              <a:gd name="connsiteX55" fmla="*/ 7385 w 10000"/>
              <a:gd name="connsiteY55" fmla="*/ 8754 h 10000"/>
              <a:gd name="connsiteX56" fmla="*/ 8174 w 10000"/>
              <a:gd name="connsiteY56" fmla="*/ 8711 h 10000"/>
              <a:gd name="connsiteX57" fmla="*/ 8339 w 10000"/>
              <a:gd name="connsiteY57" fmla="*/ 4667 h 10000"/>
              <a:gd name="connsiteX58" fmla="*/ 8519 w 10000"/>
              <a:gd name="connsiteY58" fmla="*/ 5019 h 10000"/>
              <a:gd name="connsiteX59" fmla="*/ 8616 w 10000"/>
              <a:gd name="connsiteY59" fmla="*/ 4709 h 10000"/>
              <a:gd name="connsiteX60" fmla="*/ 8658 w 10000"/>
              <a:gd name="connsiteY60" fmla="*/ 5197 h 10000"/>
              <a:gd name="connsiteX61" fmla="*/ 8699 w 10000"/>
              <a:gd name="connsiteY61" fmla="*/ 7287 h 10000"/>
              <a:gd name="connsiteX62" fmla="*/ 8783 w 10000"/>
              <a:gd name="connsiteY62" fmla="*/ 6396 h 10000"/>
              <a:gd name="connsiteX63" fmla="*/ 8879 w 10000"/>
              <a:gd name="connsiteY63" fmla="*/ 7821 h 10000"/>
              <a:gd name="connsiteX64" fmla="*/ 8935 w 10000"/>
              <a:gd name="connsiteY64" fmla="*/ 7910 h 10000"/>
              <a:gd name="connsiteX65" fmla="*/ 8975 w 10000"/>
              <a:gd name="connsiteY65" fmla="*/ 7821 h 10000"/>
              <a:gd name="connsiteX66" fmla="*/ 8975 w 10000"/>
              <a:gd name="connsiteY66" fmla="*/ 7643 h 10000"/>
              <a:gd name="connsiteX67" fmla="*/ 9087 w 10000"/>
              <a:gd name="connsiteY67" fmla="*/ 7821 h 10000"/>
              <a:gd name="connsiteX68" fmla="*/ 9155 w 10000"/>
              <a:gd name="connsiteY68" fmla="*/ 7685 h 10000"/>
              <a:gd name="connsiteX69" fmla="*/ 9184 w 10000"/>
              <a:gd name="connsiteY69" fmla="*/ 7334 h 10000"/>
              <a:gd name="connsiteX70" fmla="*/ 9226 w 10000"/>
              <a:gd name="connsiteY70" fmla="*/ 7685 h 10000"/>
              <a:gd name="connsiteX71" fmla="*/ 9294 w 10000"/>
              <a:gd name="connsiteY71" fmla="*/ 7512 h 10000"/>
              <a:gd name="connsiteX72" fmla="*/ 9405 w 10000"/>
              <a:gd name="connsiteY72" fmla="*/ 7554 h 10000"/>
              <a:gd name="connsiteX73" fmla="*/ 9433 w 10000"/>
              <a:gd name="connsiteY73" fmla="*/ 7774 h 10000"/>
              <a:gd name="connsiteX74" fmla="*/ 9474 w 10000"/>
              <a:gd name="connsiteY74" fmla="*/ 7821 h 10000"/>
              <a:gd name="connsiteX75" fmla="*/ 9515 w 10000"/>
              <a:gd name="connsiteY75" fmla="*/ 7685 h 10000"/>
              <a:gd name="connsiteX76" fmla="*/ 9572 w 10000"/>
              <a:gd name="connsiteY76" fmla="*/ 7774 h 10000"/>
              <a:gd name="connsiteX77" fmla="*/ 9627 w 10000"/>
              <a:gd name="connsiteY77" fmla="*/ 7245 h 10000"/>
              <a:gd name="connsiteX78" fmla="*/ 9711 w 10000"/>
              <a:gd name="connsiteY78" fmla="*/ 7821 h 10000"/>
              <a:gd name="connsiteX79" fmla="*/ 9820 w 10000"/>
              <a:gd name="connsiteY79" fmla="*/ 7465 h 10000"/>
              <a:gd name="connsiteX80" fmla="*/ 9848 w 10000"/>
              <a:gd name="connsiteY80" fmla="*/ 7245 h 10000"/>
              <a:gd name="connsiteX81" fmla="*/ 9916 w 10000"/>
              <a:gd name="connsiteY81" fmla="*/ 7465 h 10000"/>
              <a:gd name="connsiteX82" fmla="*/ 10000 w 10000"/>
              <a:gd name="connsiteY82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428 w 10000"/>
              <a:gd name="connsiteY40" fmla="*/ 4888 h 10000"/>
              <a:gd name="connsiteX41" fmla="*/ 3497 w 10000"/>
              <a:gd name="connsiteY41" fmla="*/ 4977 h 10000"/>
              <a:gd name="connsiteX42" fmla="*/ 3565 w 10000"/>
              <a:gd name="connsiteY42" fmla="*/ 4799 h 10000"/>
              <a:gd name="connsiteX43" fmla="*/ 3664 w 10000"/>
              <a:gd name="connsiteY43" fmla="*/ 1467 h 10000"/>
              <a:gd name="connsiteX44" fmla="*/ 3745 w 10000"/>
              <a:gd name="connsiteY44" fmla="*/ 1200 h 10000"/>
              <a:gd name="connsiteX45" fmla="*/ 4092 w 10000"/>
              <a:gd name="connsiteY45" fmla="*/ 6710 h 10000"/>
              <a:gd name="connsiteX46" fmla="*/ 4577 w 10000"/>
              <a:gd name="connsiteY46" fmla="*/ 6710 h 10000"/>
              <a:gd name="connsiteX47" fmla="*/ 5089 w 10000"/>
              <a:gd name="connsiteY47" fmla="*/ 754 h 10000"/>
              <a:gd name="connsiteX48" fmla="*/ 5434 w 10000"/>
              <a:gd name="connsiteY48" fmla="*/ 754 h 10000"/>
              <a:gd name="connsiteX49" fmla="*/ 5781 w 10000"/>
              <a:gd name="connsiteY49" fmla="*/ 1331 h 10000"/>
              <a:gd name="connsiteX50" fmla="*/ 5809 w 10000"/>
              <a:gd name="connsiteY50" fmla="*/ 712 h 10000"/>
              <a:gd name="connsiteX51" fmla="*/ 5946 w 10000"/>
              <a:gd name="connsiteY51" fmla="*/ 89 h 10000"/>
              <a:gd name="connsiteX52" fmla="*/ 6638 w 10000"/>
              <a:gd name="connsiteY52" fmla="*/ 0 h 10000"/>
              <a:gd name="connsiteX53" fmla="*/ 6873 w 10000"/>
              <a:gd name="connsiteY53" fmla="*/ 89 h 10000"/>
              <a:gd name="connsiteX54" fmla="*/ 7011 w 10000"/>
              <a:gd name="connsiteY54" fmla="*/ 356 h 10000"/>
              <a:gd name="connsiteX55" fmla="*/ 7385 w 10000"/>
              <a:gd name="connsiteY55" fmla="*/ 8754 h 10000"/>
              <a:gd name="connsiteX56" fmla="*/ 8174 w 10000"/>
              <a:gd name="connsiteY56" fmla="*/ 8711 h 10000"/>
              <a:gd name="connsiteX57" fmla="*/ 8339 w 10000"/>
              <a:gd name="connsiteY57" fmla="*/ 4667 h 10000"/>
              <a:gd name="connsiteX58" fmla="*/ 8519 w 10000"/>
              <a:gd name="connsiteY58" fmla="*/ 5019 h 10000"/>
              <a:gd name="connsiteX59" fmla="*/ 8616 w 10000"/>
              <a:gd name="connsiteY59" fmla="*/ 4709 h 10000"/>
              <a:gd name="connsiteX60" fmla="*/ 8658 w 10000"/>
              <a:gd name="connsiteY60" fmla="*/ 5197 h 10000"/>
              <a:gd name="connsiteX61" fmla="*/ 8699 w 10000"/>
              <a:gd name="connsiteY61" fmla="*/ 7287 h 10000"/>
              <a:gd name="connsiteX62" fmla="*/ 8783 w 10000"/>
              <a:gd name="connsiteY62" fmla="*/ 6396 h 10000"/>
              <a:gd name="connsiteX63" fmla="*/ 8879 w 10000"/>
              <a:gd name="connsiteY63" fmla="*/ 7821 h 10000"/>
              <a:gd name="connsiteX64" fmla="*/ 8935 w 10000"/>
              <a:gd name="connsiteY64" fmla="*/ 7910 h 10000"/>
              <a:gd name="connsiteX65" fmla="*/ 8975 w 10000"/>
              <a:gd name="connsiteY65" fmla="*/ 7821 h 10000"/>
              <a:gd name="connsiteX66" fmla="*/ 8975 w 10000"/>
              <a:gd name="connsiteY66" fmla="*/ 7643 h 10000"/>
              <a:gd name="connsiteX67" fmla="*/ 9087 w 10000"/>
              <a:gd name="connsiteY67" fmla="*/ 7821 h 10000"/>
              <a:gd name="connsiteX68" fmla="*/ 9155 w 10000"/>
              <a:gd name="connsiteY68" fmla="*/ 7685 h 10000"/>
              <a:gd name="connsiteX69" fmla="*/ 9184 w 10000"/>
              <a:gd name="connsiteY69" fmla="*/ 7334 h 10000"/>
              <a:gd name="connsiteX70" fmla="*/ 9226 w 10000"/>
              <a:gd name="connsiteY70" fmla="*/ 7685 h 10000"/>
              <a:gd name="connsiteX71" fmla="*/ 9294 w 10000"/>
              <a:gd name="connsiteY71" fmla="*/ 7512 h 10000"/>
              <a:gd name="connsiteX72" fmla="*/ 9405 w 10000"/>
              <a:gd name="connsiteY72" fmla="*/ 7554 h 10000"/>
              <a:gd name="connsiteX73" fmla="*/ 9433 w 10000"/>
              <a:gd name="connsiteY73" fmla="*/ 7774 h 10000"/>
              <a:gd name="connsiteX74" fmla="*/ 9474 w 10000"/>
              <a:gd name="connsiteY74" fmla="*/ 7821 h 10000"/>
              <a:gd name="connsiteX75" fmla="*/ 9515 w 10000"/>
              <a:gd name="connsiteY75" fmla="*/ 7685 h 10000"/>
              <a:gd name="connsiteX76" fmla="*/ 9572 w 10000"/>
              <a:gd name="connsiteY76" fmla="*/ 7774 h 10000"/>
              <a:gd name="connsiteX77" fmla="*/ 9627 w 10000"/>
              <a:gd name="connsiteY77" fmla="*/ 7245 h 10000"/>
              <a:gd name="connsiteX78" fmla="*/ 9711 w 10000"/>
              <a:gd name="connsiteY78" fmla="*/ 7821 h 10000"/>
              <a:gd name="connsiteX79" fmla="*/ 9820 w 10000"/>
              <a:gd name="connsiteY79" fmla="*/ 7465 h 10000"/>
              <a:gd name="connsiteX80" fmla="*/ 9848 w 10000"/>
              <a:gd name="connsiteY80" fmla="*/ 7245 h 10000"/>
              <a:gd name="connsiteX81" fmla="*/ 9916 w 10000"/>
              <a:gd name="connsiteY81" fmla="*/ 7465 h 10000"/>
              <a:gd name="connsiteX82" fmla="*/ 10000 w 10000"/>
              <a:gd name="connsiteY82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397 w 10000"/>
              <a:gd name="connsiteY40" fmla="*/ 2830 h 10000"/>
              <a:gd name="connsiteX41" fmla="*/ 3497 w 10000"/>
              <a:gd name="connsiteY41" fmla="*/ 4977 h 10000"/>
              <a:gd name="connsiteX42" fmla="*/ 3565 w 10000"/>
              <a:gd name="connsiteY42" fmla="*/ 4799 h 10000"/>
              <a:gd name="connsiteX43" fmla="*/ 3664 w 10000"/>
              <a:gd name="connsiteY43" fmla="*/ 1467 h 10000"/>
              <a:gd name="connsiteX44" fmla="*/ 3745 w 10000"/>
              <a:gd name="connsiteY44" fmla="*/ 1200 h 10000"/>
              <a:gd name="connsiteX45" fmla="*/ 4092 w 10000"/>
              <a:gd name="connsiteY45" fmla="*/ 6710 h 10000"/>
              <a:gd name="connsiteX46" fmla="*/ 4577 w 10000"/>
              <a:gd name="connsiteY46" fmla="*/ 6710 h 10000"/>
              <a:gd name="connsiteX47" fmla="*/ 5089 w 10000"/>
              <a:gd name="connsiteY47" fmla="*/ 754 h 10000"/>
              <a:gd name="connsiteX48" fmla="*/ 5434 w 10000"/>
              <a:gd name="connsiteY48" fmla="*/ 754 h 10000"/>
              <a:gd name="connsiteX49" fmla="*/ 5781 w 10000"/>
              <a:gd name="connsiteY49" fmla="*/ 1331 h 10000"/>
              <a:gd name="connsiteX50" fmla="*/ 5809 w 10000"/>
              <a:gd name="connsiteY50" fmla="*/ 712 h 10000"/>
              <a:gd name="connsiteX51" fmla="*/ 5946 w 10000"/>
              <a:gd name="connsiteY51" fmla="*/ 89 h 10000"/>
              <a:gd name="connsiteX52" fmla="*/ 6638 w 10000"/>
              <a:gd name="connsiteY52" fmla="*/ 0 h 10000"/>
              <a:gd name="connsiteX53" fmla="*/ 6873 w 10000"/>
              <a:gd name="connsiteY53" fmla="*/ 89 h 10000"/>
              <a:gd name="connsiteX54" fmla="*/ 7011 w 10000"/>
              <a:gd name="connsiteY54" fmla="*/ 356 h 10000"/>
              <a:gd name="connsiteX55" fmla="*/ 7385 w 10000"/>
              <a:gd name="connsiteY55" fmla="*/ 8754 h 10000"/>
              <a:gd name="connsiteX56" fmla="*/ 8174 w 10000"/>
              <a:gd name="connsiteY56" fmla="*/ 8711 h 10000"/>
              <a:gd name="connsiteX57" fmla="*/ 8339 w 10000"/>
              <a:gd name="connsiteY57" fmla="*/ 4667 h 10000"/>
              <a:gd name="connsiteX58" fmla="*/ 8519 w 10000"/>
              <a:gd name="connsiteY58" fmla="*/ 5019 h 10000"/>
              <a:gd name="connsiteX59" fmla="*/ 8616 w 10000"/>
              <a:gd name="connsiteY59" fmla="*/ 4709 h 10000"/>
              <a:gd name="connsiteX60" fmla="*/ 8658 w 10000"/>
              <a:gd name="connsiteY60" fmla="*/ 5197 h 10000"/>
              <a:gd name="connsiteX61" fmla="*/ 8699 w 10000"/>
              <a:gd name="connsiteY61" fmla="*/ 7287 h 10000"/>
              <a:gd name="connsiteX62" fmla="*/ 8783 w 10000"/>
              <a:gd name="connsiteY62" fmla="*/ 6396 h 10000"/>
              <a:gd name="connsiteX63" fmla="*/ 8879 w 10000"/>
              <a:gd name="connsiteY63" fmla="*/ 7821 h 10000"/>
              <a:gd name="connsiteX64" fmla="*/ 8935 w 10000"/>
              <a:gd name="connsiteY64" fmla="*/ 7910 h 10000"/>
              <a:gd name="connsiteX65" fmla="*/ 8975 w 10000"/>
              <a:gd name="connsiteY65" fmla="*/ 7821 h 10000"/>
              <a:gd name="connsiteX66" fmla="*/ 8975 w 10000"/>
              <a:gd name="connsiteY66" fmla="*/ 7643 h 10000"/>
              <a:gd name="connsiteX67" fmla="*/ 9087 w 10000"/>
              <a:gd name="connsiteY67" fmla="*/ 7821 h 10000"/>
              <a:gd name="connsiteX68" fmla="*/ 9155 w 10000"/>
              <a:gd name="connsiteY68" fmla="*/ 7685 h 10000"/>
              <a:gd name="connsiteX69" fmla="*/ 9184 w 10000"/>
              <a:gd name="connsiteY69" fmla="*/ 7334 h 10000"/>
              <a:gd name="connsiteX70" fmla="*/ 9226 w 10000"/>
              <a:gd name="connsiteY70" fmla="*/ 7685 h 10000"/>
              <a:gd name="connsiteX71" fmla="*/ 9294 w 10000"/>
              <a:gd name="connsiteY71" fmla="*/ 7512 h 10000"/>
              <a:gd name="connsiteX72" fmla="*/ 9405 w 10000"/>
              <a:gd name="connsiteY72" fmla="*/ 7554 h 10000"/>
              <a:gd name="connsiteX73" fmla="*/ 9433 w 10000"/>
              <a:gd name="connsiteY73" fmla="*/ 7774 h 10000"/>
              <a:gd name="connsiteX74" fmla="*/ 9474 w 10000"/>
              <a:gd name="connsiteY74" fmla="*/ 7821 h 10000"/>
              <a:gd name="connsiteX75" fmla="*/ 9515 w 10000"/>
              <a:gd name="connsiteY75" fmla="*/ 7685 h 10000"/>
              <a:gd name="connsiteX76" fmla="*/ 9572 w 10000"/>
              <a:gd name="connsiteY76" fmla="*/ 7774 h 10000"/>
              <a:gd name="connsiteX77" fmla="*/ 9627 w 10000"/>
              <a:gd name="connsiteY77" fmla="*/ 7245 h 10000"/>
              <a:gd name="connsiteX78" fmla="*/ 9711 w 10000"/>
              <a:gd name="connsiteY78" fmla="*/ 7821 h 10000"/>
              <a:gd name="connsiteX79" fmla="*/ 9820 w 10000"/>
              <a:gd name="connsiteY79" fmla="*/ 7465 h 10000"/>
              <a:gd name="connsiteX80" fmla="*/ 9848 w 10000"/>
              <a:gd name="connsiteY80" fmla="*/ 7245 h 10000"/>
              <a:gd name="connsiteX81" fmla="*/ 9916 w 10000"/>
              <a:gd name="connsiteY81" fmla="*/ 7465 h 10000"/>
              <a:gd name="connsiteX82" fmla="*/ 10000 w 10000"/>
              <a:gd name="connsiteY82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497 w 10000"/>
              <a:gd name="connsiteY40" fmla="*/ 4977 h 10000"/>
              <a:gd name="connsiteX41" fmla="*/ 3565 w 10000"/>
              <a:gd name="connsiteY41" fmla="*/ 4799 h 10000"/>
              <a:gd name="connsiteX42" fmla="*/ 3664 w 10000"/>
              <a:gd name="connsiteY42" fmla="*/ 1467 h 10000"/>
              <a:gd name="connsiteX43" fmla="*/ 3745 w 10000"/>
              <a:gd name="connsiteY43" fmla="*/ 1200 h 10000"/>
              <a:gd name="connsiteX44" fmla="*/ 4092 w 10000"/>
              <a:gd name="connsiteY44" fmla="*/ 6710 h 10000"/>
              <a:gd name="connsiteX45" fmla="*/ 4577 w 10000"/>
              <a:gd name="connsiteY45" fmla="*/ 6710 h 10000"/>
              <a:gd name="connsiteX46" fmla="*/ 5089 w 10000"/>
              <a:gd name="connsiteY46" fmla="*/ 754 h 10000"/>
              <a:gd name="connsiteX47" fmla="*/ 5434 w 10000"/>
              <a:gd name="connsiteY47" fmla="*/ 754 h 10000"/>
              <a:gd name="connsiteX48" fmla="*/ 5781 w 10000"/>
              <a:gd name="connsiteY48" fmla="*/ 1331 h 10000"/>
              <a:gd name="connsiteX49" fmla="*/ 5809 w 10000"/>
              <a:gd name="connsiteY49" fmla="*/ 712 h 10000"/>
              <a:gd name="connsiteX50" fmla="*/ 5946 w 10000"/>
              <a:gd name="connsiteY50" fmla="*/ 89 h 10000"/>
              <a:gd name="connsiteX51" fmla="*/ 6638 w 10000"/>
              <a:gd name="connsiteY51" fmla="*/ 0 h 10000"/>
              <a:gd name="connsiteX52" fmla="*/ 6873 w 10000"/>
              <a:gd name="connsiteY52" fmla="*/ 89 h 10000"/>
              <a:gd name="connsiteX53" fmla="*/ 7011 w 10000"/>
              <a:gd name="connsiteY53" fmla="*/ 356 h 10000"/>
              <a:gd name="connsiteX54" fmla="*/ 7385 w 10000"/>
              <a:gd name="connsiteY54" fmla="*/ 8754 h 10000"/>
              <a:gd name="connsiteX55" fmla="*/ 8174 w 10000"/>
              <a:gd name="connsiteY55" fmla="*/ 8711 h 10000"/>
              <a:gd name="connsiteX56" fmla="*/ 8339 w 10000"/>
              <a:gd name="connsiteY56" fmla="*/ 4667 h 10000"/>
              <a:gd name="connsiteX57" fmla="*/ 8519 w 10000"/>
              <a:gd name="connsiteY57" fmla="*/ 5019 h 10000"/>
              <a:gd name="connsiteX58" fmla="*/ 8616 w 10000"/>
              <a:gd name="connsiteY58" fmla="*/ 4709 h 10000"/>
              <a:gd name="connsiteX59" fmla="*/ 8658 w 10000"/>
              <a:gd name="connsiteY59" fmla="*/ 5197 h 10000"/>
              <a:gd name="connsiteX60" fmla="*/ 8699 w 10000"/>
              <a:gd name="connsiteY60" fmla="*/ 7287 h 10000"/>
              <a:gd name="connsiteX61" fmla="*/ 8783 w 10000"/>
              <a:gd name="connsiteY61" fmla="*/ 6396 h 10000"/>
              <a:gd name="connsiteX62" fmla="*/ 8879 w 10000"/>
              <a:gd name="connsiteY62" fmla="*/ 7821 h 10000"/>
              <a:gd name="connsiteX63" fmla="*/ 8935 w 10000"/>
              <a:gd name="connsiteY63" fmla="*/ 7910 h 10000"/>
              <a:gd name="connsiteX64" fmla="*/ 8975 w 10000"/>
              <a:gd name="connsiteY64" fmla="*/ 7821 h 10000"/>
              <a:gd name="connsiteX65" fmla="*/ 8975 w 10000"/>
              <a:gd name="connsiteY65" fmla="*/ 7643 h 10000"/>
              <a:gd name="connsiteX66" fmla="*/ 9087 w 10000"/>
              <a:gd name="connsiteY66" fmla="*/ 7821 h 10000"/>
              <a:gd name="connsiteX67" fmla="*/ 9155 w 10000"/>
              <a:gd name="connsiteY67" fmla="*/ 7685 h 10000"/>
              <a:gd name="connsiteX68" fmla="*/ 9184 w 10000"/>
              <a:gd name="connsiteY68" fmla="*/ 7334 h 10000"/>
              <a:gd name="connsiteX69" fmla="*/ 9226 w 10000"/>
              <a:gd name="connsiteY69" fmla="*/ 7685 h 10000"/>
              <a:gd name="connsiteX70" fmla="*/ 9294 w 10000"/>
              <a:gd name="connsiteY70" fmla="*/ 7512 h 10000"/>
              <a:gd name="connsiteX71" fmla="*/ 9405 w 10000"/>
              <a:gd name="connsiteY71" fmla="*/ 7554 h 10000"/>
              <a:gd name="connsiteX72" fmla="*/ 9433 w 10000"/>
              <a:gd name="connsiteY72" fmla="*/ 7774 h 10000"/>
              <a:gd name="connsiteX73" fmla="*/ 9474 w 10000"/>
              <a:gd name="connsiteY73" fmla="*/ 7821 h 10000"/>
              <a:gd name="connsiteX74" fmla="*/ 9515 w 10000"/>
              <a:gd name="connsiteY74" fmla="*/ 7685 h 10000"/>
              <a:gd name="connsiteX75" fmla="*/ 9572 w 10000"/>
              <a:gd name="connsiteY75" fmla="*/ 7774 h 10000"/>
              <a:gd name="connsiteX76" fmla="*/ 9627 w 10000"/>
              <a:gd name="connsiteY76" fmla="*/ 7245 h 10000"/>
              <a:gd name="connsiteX77" fmla="*/ 9711 w 10000"/>
              <a:gd name="connsiteY77" fmla="*/ 7821 h 10000"/>
              <a:gd name="connsiteX78" fmla="*/ 9820 w 10000"/>
              <a:gd name="connsiteY78" fmla="*/ 7465 h 10000"/>
              <a:gd name="connsiteX79" fmla="*/ 9848 w 10000"/>
              <a:gd name="connsiteY79" fmla="*/ 7245 h 10000"/>
              <a:gd name="connsiteX80" fmla="*/ 9916 w 10000"/>
              <a:gd name="connsiteY80" fmla="*/ 7465 h 10000"/>
              <a:gd name="connsiteX81" fmla="*/ 10000 w 10000"/>
              <a:gd name="connsiteY81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65 w 10000"/>
              <a:gd name="connsiteY40" fmla="*/ 4799 h 10000"/>
              <a:gd name="connsiteX41" fmla="*/ 3664 w 10000"/>
              <a:gd name="connsiteY41" fmla="*/ 1467 h 10000"/>
              <a:gd name="connsiteX42" fmla="*/ 3745 w 10000"/>
              <a:gd name="connsiteY42" fmla="*/ 1200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606 w 10000"/>
              <a:gd name="connsiteY40" fmla="*/ 2600 h 10000"/>
              <a:gd name="connsiteX41" fmla="*/ 3664 w 10000"/>
              <a:gd name="connsiteY41" fmla="*/ 1467 h 10000"/>
              <a:gd name="connsiteX42" fmla="*/ 3745 w 10000"/>
              <a:gd name="connsiteY42" fmla="*/ 1200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606 w 10000"/>
              <a:gd name="connsiteY40" fmla="*/ 2600 h 10000"/>
              <a:gd name="connsiteX41" fmla="*/ 3664 w 10000"/>
              <a:gd name="connsiteY41" fmla="*/ 1467 h 10000"/>
              <a:gd name="connsiteX42" fmla="*/ 3745 w 10000"/>
              <a:gd name="connsiteY42" fmla="*/ 1200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64 w 10000"/>
              <a:gd name="connsiteY41" fmla="*/ 1467 h 10000"/>
              <a:gd name="connsiteX42" fmla="*/ 3745 w 10000"/>
              <a:gd name="connsiteY42" fmla="*/ 1200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64 w 10000"/>
              <a:gd name="connsiteY41" fmla="*/ 1467 h 10000"/>
              <a:gd name="connsiteX42" fmla="*/ 3745 w 10000"/>
              <a:gd name="connsiteY42" fmla="*/ 1200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64 w 10000"/>
              <a:gd name="connsiteY41" fmla="*/ 1467 h 10000"/>
              <a:gd name="connsiteX42" fmla="*/ 3779 w 10000"/>
              <a:gd name="connsiteY42" fmla="*/ 1134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092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434 w 10000"/>
              <a:gd name="connsiteY46" fmla="*/ 754 h 10000"/>
              <a:gd name="connsiteX47" fmla="*/ 5781 w 10000"/>
              <a:gd name="connsiteY47" fmla="*/ 1331 h 10000"/>
              <a:gd name="connsiteX48" fmla="*/ 5809 w 10000"/>
              <a:gd name="connsiteY48" fmla="*/ 712 h 10000"/>
              <a:gd name="connsiteX49" fmla="*/ 5946 w 10000"/>
              <a:gd name="connsiteY49" fmla="*/ 89 h 10000"/>
              <a:gd name="connsiteX50" fmla="*/ 6638 w 10000"/>
              <a:gd name="connsiteY50" fmla="*/ 0 h 10000"/>
              <a:gd name="connsiteX51" fmla="*/ 6873 w 10000"/>
              <a:gd name="connsiteY51" fmla="*/ 89 h 10000"/>
              <a:gd name="connsiteX52" fmla="*/ 7011 w 10000"/>
              <a:gd name="connsiteY52" fmla="*/ 356 h 10000"/>
              <a:gd name="connsiteX53" fmla="*/ 7385 w 10000"/>
              <a:gd name="connsiteY53" fmla="*/ 8754 h 10000"/>
              <a:gd name="connsiteX54" fmla="*/ 8174 w 10000"/>
              <a:gd name="connsiteY54" fmla="*/ 8711 h 10000"/>
              <a:gd name="connsiteX55" fmla="*/ 8339 w 10000"/>
              <a:gd name="connsiteY55" fmla="*/ 4667 h 10000"/>
              <a:gd name="connsiteX56" fmla="*/ 8519 w 10000"/>
              <a:gd name="connsiteY56" fmla="*/ 5019 h 10000"/>
              <a:gd name="connsiteX57" fmla="*/ 8616 w 10000"/>
              <a:gd name="connsiteY57" fmla="*/ 4709 h 10000"/>
              <a:gd name="connsiteX58" fmla="*/ 8658 w 10000"/>
              <a:gd name="connsiteY58" fmla="*/ 5197 h 10000"/>
              <a:gd name="connsiteX59" fmla="*/ 8699 w 10000"/>
              <a:gd name="connsiteY59" fmla="*/ 7287 h 10000"/>
              <a:gd name="connsiteX60" fmla="*/ 8783 w 10000"/>
              <a:gd name="connsiteY60" fmla="*/ 6396 h 10000"/>
              <a:gd name="connsiteX61" fmla="*/ 8879 w 10000"/>
              <a:gd name="connsiteY61" fmla="*/ 7821 h 10000"/>
              <a:gd name="connsiteX62" fmla="*/ 8935 w 10000"/>
              <a:gd name="connsiteY62" fmla="*/ 7910 h 10000"/>
              <a:gd name="connsiteX63" fmla="*/ 8975 w 10000"/>
              <a:gd name="connsiteY63" fmla="*/ 7821 h 10000"/>
              <a:gd name="connsiteX64" fmla="*/ 8975 w 10000"/>
              <a:gd name="connsiteY64" fmla="*/ 7643 h 10000"/>
              <a:gd name="connsiteX65" fmla="*/ 9087 w 10000"/>
              <a:gd name="connsiteY65" fmla="*/ 7821 h 10000"/>
              <a:gd name="connsiteX66" fmla="*/ 9155 w 10000"/>
              <a:gd name="connsiteY66" fmla="*/ 7685 h 10000"/>
              <a:gd name="connsiteX67" fmla="*/ 9184 w 10000"/>
              <a:gd name="connsiteY67" fmla="*/ 7334 h 10000"/>
              <a:gd name="connsiteX68" fmla="*/ 9226 w 10000"/>
              <a:gd name="connsiteY68" fmla="*/ 7685 h 10000"/>
              <a:gd name="connsiteX69" fmla="*/ 9294 w 10000"/>
              <a:gd name="connsiteY69" fmla="*/ 7512 h 10000"/>
              <a:gd name="connsiteX70" fmla="*/ 9405 w 10000"/>
              <a:gd name="connsiteY70" fmla="*/ 7554 h 10000"/>
              <a:gd name="connsiteX71" fmla="*/ 9433 w 10000"/>
              <a:gd name="connsiteY71" fmla="*/ 7774 h 10000"/>
              <a:gd name="connsiteX72" fmla="*/ 9474 w 10000"/>
              <a:gd name="connsiteY72" fmla="*/ 7821 h 10000"/>
              <a:gd name="connsiteX73" fmla="*/ 9515 w 10000"/>
              <a:gd name="connsiteY73" fmla="*/ 7685 h 10000"/>
              <a:gd name="connsiteX74" fmla="*/ 9572 w 10000"/>
              <a:gd name="connsiteY74" fmla="*/ 7774 h 10000"/>
              <a:gd name="connsiteX75" fmla="*/ 9627 w 10000"/>
              <a:gd name="connsiteY75" fmla="*/ 7245 h 10000"/>
              <a:gd name="connsiteX76" fmla="*/ 9711 w 10000"/>
              <a:gd name="connsiteY76" fmla="*/ 7821 h 10000"/>
              <a:gd name="connsiteX77" fmla="*/ 9820 w 10000"/>
              <a:gd name="connsiteY77" fmla="*/ 7465 h 10000"/>
              <a:gd name="connsiteX78" fmla="*/ 9848 w 10000"/>
              <a:gd name="connsiteY78" fmla="*/ 7245 h 10000"/>
              <a:gd name="connsiteX79" fmla="*/ 9916 w 10000"/>
              <a:gd name="connsiteY79" fmla="*/ 7465 h 10000"/>
              <a:gd name="connsiteX80" fmla="*/ 10000 w 10000"/>
              <a:gd name="connsiteY80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089 w 10000"/>
              <a:gd name="connsiteY45" fmla="*/ 754 h 10000"/>
              <a:gd name="connsiteX46" fmla="*/ 5781 w 10000"/>
              <a:gd name="connsiteY46" fmla="*/ 1331 h 10000"/>
              <a:gd name="connsiteX47" fmla="*/ 5809 w 10000"/>
              <a:gd name="connsiteY47" fmla="*/ 712 h 10000"/>
              <a:gd name="connsiteX48" fmla="*/ 5946 w 10000"/>
              <a:gd name="connsiteY48" fmla="*/ 89 h 10000"/>
              <a:gd name="connsiteX49" fmla="*/ 6638 w 10000"/>
              <a:gd name="connsiteY49" fmla="*/ 0 h 10000"/>
              <a:gd name="connsiteX50" fmla="*/ 6873 w 10000"/>
              <a:gd name="connsiteY50" fmla="*/ 89 h 10000"/>
              <a:gd name="connsiteX51" fmla="*/ 7011 w 10000"/>
              <a:gd name="connsiteY51" fmla="*/ 356 h 10000"/>
              <a:gd name="connsiteX52" fmla="*/ 7385 w 10000"/>
              <a:gd name="connsiteY52" fmla="*/ 8754 h 10000"/>
              <a:gd name="connsiteX53" fmla="*/ 8174 w 10000"/>
              <a:gd name="connsiteY53" fmla="*/ 8711 h 10000"/>
              <a:gd name="connsiteX54" fmla="*/ 8339 w 10000"/>
              <a:gd name="connsiteY54" fmla="*/ 4667 h 10000"/>
              <a:gd name="connsiteX55" fmla="*/ 8519 w 10000"/>
              <a:gd name="connsiteY55" fmla="*/ 5019 h 10000"/>
              <a:gd name="connsiteX56" fmla="*/ 8616 w 10000"/>
              <a:gd name="connsiteY56" fmla="*/ 4709 h 10000"/>
              <a:gd name="connsiteX57" fmla="*/ 8658 w 10000"/>
              <a:gd name="connsiteY57" fmla="*/ 5197 h 10000"/>
              <a:gd name="connsiteX58" fmla="*/ 8699 w 10000"/>
              <a:gd name="connsiteY58" fmla="*/ 7287 h 10000"/>
              <a:gd name="connsiteX59" fmla="*/ 8783 w 10000"/>
              <a:gd name="connsiteY59" fmla="*/ 6396 h 10000"/>
              <a:gd name="connsiteX60" fmla="*/ 8879 w 10000"/>
              <a:gd name="connsiteY60" fmla="*/ 7821 h 10000"/>
              <a:gd name="connsiteX61" fmla="*/ 8935 w 10000"/>
              <a:gd name="connsiteY61" fmla="*/ 7910 h 10000"/>
              <a:gd name="connsiteX62" fmla="*/ 8975 w 10000"/>
              <a:gd name="connsiteY62" fmla="*/ 7821 h 10000"/>
              <a:gd name="connsiteX63" fmla="*/ 8975 w 10000"/>
              <a:gd name="connsiteY63" fmla="*/ 7643 h 10000"/>
              <a:gd name="connsiteX64" fmla="*/ 9087 w 10000"/>
              <a:gd name="connsiteY64" fmla="*/ 7821 h 10000"/>
              <a:gd name="connsiteX65" fmla="*/ 9155 w 10000"/>
              <a:gd name="connsiteY65" fmla="*/ 7685 h 10000"/>
              <a:gd name="connsiteX66" fmla="*/ 9184 w 10000"/>
              <a:gd name="connsiteY66" fmla="*/ 7334 h 10000"/>
              <a:gd name="connsiteX67" fmla="*/ 9226 w 10000"/>
              <a:gd name="connsiteY67" fmla="*/ 7685 h 10000"/>
              <a:gd name="connsiteX68" fmla="*/ 9294 w 10000"/>
              <a:gd name="connsiteY68" fmla="*/ 7512 h 10000"/>
              <a:gd name="connsiteX69" fmla="*/ 9405 w 10000"/>
              <a:gd name="connsiteY69" fmla="*/ 7554 h 10000"/>
              <a:gd name="connsiteX70" fmla="*/ 9433 w 10000"/>
              <a:gd name="connsiteY70" fmla="*/ 7774 h 10000"/>
              <a:gd name="connsiteX71" fmla="*/ 9474 w 10000"/>
              <a:gd name="connsiteY71" fmla="*/ 7821 h 10000"/>
              <a:gd name="connsiteX72" fmla="*/ 9515 w 10000"/>
              <a:gd name="connsiteY72" fmla="*/ 7685 h 10000"/>
              <a:gd name="connsiteX73" fmla="*/ 9572 w 10000"/>
              <a:gd name="connsiteY73" fmla="*/ 7774 h 10000"/>
              <a:gd name="connsiteX74" fmla="*/ 9627 w 10000"/>
              <a:gd name="connsiteY74" fmla="*/ 7245 h 10000"/>
              <a:gd name="connsiteX75" fmla="*/ 9711 w 10000"/>
              <a:gd name="connsiteY75" fmla="*/ 7821 h 10000"/>
              <a:gd name="connsiteX76" fmla="*/ 9820 w 10000"/>
              <a:gd name="connsiteY76" fmla="*/ 7465 h 10000"/>
              <a:gd name="connsiteX77" fmla="*/ 9848 w 10000"/>
              <a:gd name="connsiteY77" fmla="*/ 7245 h 10000"/>
              <a:gd name="connsiteX78" fmla="*/ 9916 w 10000"/>
              <a:gd name="connsiteY78" fmla="*/ 7465 h 10000"/>
              <a:gd name="connsiteX79" fmla="*/ 10000 w 10000"/>
              <a:gd name="connsiteY79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81 w 10000"/>
              <a:gd name="connsiteY46" fmla="*/ 1331 h 10000"/>
              <a:gd name="connsiteX47" fmla="*/ 5809 w 10000"/>
              <a:gd name="connsiteY47" fmla="*/ 712 h 10000"/>
              <a:gd name="connsiteX48" fmla="*/ 5946 w 10000"/>
              <a:gd name="connsiteY48" fmla="*/ 89 h 10000"/>
              <a:gd name="connsiteX49" fmla="*/ 6638 w 10000"/>
              <a:gd name="connsiteY49" fmla="*/ 0 h 10000"/>
              <a:gd name="connsiteX50" fmla="*/ 6873 w 10000"/>
              <a:gd name="connsiteY50" fmla="*/ 89 h 10000"/>
              <a:gd name="connsiteX51" fmla="*/ 7011 w 10000"/>
              <a:gd name="connsiteY51" fmla="*/ 356 h 10000"/>
              <a:gd name="connsiteX52" fmla="*/ 7385 w 10000"/>
              <a:gd name="connsiteY52" fmla="*/ 8754 h 10000"/>
              <a:gd name="connsiteX53" fmla="*/ 8174 w 10000"/>
              <a:gd name="connsiteY53" fmla="*/ 8711 h 10000"/>
              <a:gd name="connsiteX54" fmla="*/ 8339 w 10000"/>
              <a:gd name="connsiteY54" fmla="*/ 4667 h 10000"/>
              <a:gd name="connsiteX55" fmla="*/ 8519 w 10000"/>
              <a:gd name="connsiteY55" fmla="*/ 5019 h 10000"/>
              <a:gd name="connsiteX56" fmla="*/ 8616 w 10000"/>
              <a:gd name="connsiteY56" fmla="*/ 4709 h 10000"/>
              <a:gd name="connsiteX57" fmla="*/ 8658 w 10000"/>
              <a:gd name="connsiteY57" fmla="*/ 5197 h 10000"/>
              <a:gd name="connsiteX58" fmla="*/ 8699 w 10000"/>
              <a:gd name="connsiteY58" fmla="*/ 7287 h 10000"/>
              <a:gd name="connsiteX59" fmla="*/ 8783 w 10000"/>
              <a:gd name="connsiteY59" fmla="*/ 6396 h 10000"/>
              <a:gd name="connsiteX60" fmla="*/ 8879 w 10000"/>
              <a:gd name="connsiteY60" fmla="*/ 7821 h 10000"/>
              <a:gd name="connsiteX61" fmla="*/ 8935 w 10000"/>
              <a:gd name="connsiteY61" fmla="*/ 7910 h 10000"/>
              <a:gd name="connsiteX62" fmla="*/ 8975 w 10000"/>
              <a:gd name="connsiteY62" fmla="*/ 7821 h 10000"/>
              <a:gd name="connsiteX63" fmla="*/ 8975 w 10000"/>
              <a:gd name="connsiteY63" fmla="*/ 7643 h 10000"/>
              <a:gd name="connsiteX64" fmla="*/ 9087 w 10000"/>
              <a:gd name="connsiteY64" fmla="*/ 7821 h 10000"/>
              <a:gd name="connsiteX65" fmla="*/ 9155 w 10000"/>
              <a:gd name="connsiteY65" fmla="*/ 7685 h 10000"/>
              <a:gd name="connsiteX66" fmla="*/ 9184 w 10000"/>
              <a:gd name="connsiteY66" fmla="*/ 7334 h 10000"/>
              <a:gd name="connsiteX67" fmla="*/ 9226 w 10000"/>
              <a:gd name="connsiteY67" fmla="*/ 7685 h 10000"/>
              <a:gd name="connsiteX68" fmla="*/ 9294 w 10000"/>
              <a:gd name="connsiteY68" fmla="*/ 7512 h 10000"/>
              <a:gd name="connsiteX69" fmla="*/ 9405 w 10000"/>
              <a:gd name="connsiteY69" fmla="*/ 7554 h 10000"/>
              <a:gd name="connsiteX70" fmla="*/ 9433 w 10000"/>
              <a:gd name="connsiteY70" fmla="*/ 7774 h 10000"/>
              <a:gd name="connsiteX71" fmla="*/ 9474 w 10000"/>
              <a:gd name="connsiteY71" fmla="*/ 7821 h 10000"/>
              <a:gd name="connsiteX72" fmla="*/ 9515 w 10000"/>
              <a:gd name="connsiteY72" fmla="*/ 7685 h 10000"/>
              <a:gd name="connsiteX73" fmla="*/ 9572 w 10000"/>
              <a:gd name="connsiteY73" fmla="*/ 7774 h 10000"/>
              <a:gd name="connsiteX74" fmla="*/ 9627 w 10000"/>
              <a:gd name="connsiteY74" fmla="*/ 7245 h 10000"/>
              <a:gd name="connsiteX75" fmla="*/ 9711 w 10000"/>
              <a:gd name="connsiteY75" fmla="*/ 7821 h 10000"/>
              <a:gd name="connsiteX76" fmla="*/ 9820 w 10000"/>
              <a:gd name="connsiteY76" fmla="*/ 7465 h 10000"/>
              <a:gd name="connsiteX77" fmla="*/ 9848 w 10000"/>
              <a:gd name="connsiteY77" fmla="*/ 7245 h 10000"/>
              <a:gd name="connsiteX78" fmla="*/ 9916 w 10000"/>
              <a:gd name="connsiteY78" fmla="*/ 7465 h 10000"/>
              <a:gd name="connsiteX79" fmla="*/ 10000 w 10000"/>
              <a:gd name="connsiteY79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81 w 10000"/>
              <a:gd name="connsiteY46" fmla="*/ 1331 h 10000"/>
              <a:gd name="connsiteX47" fmla="*/ 5809 w 10000"/>
              <a:gd name="connsiteY47" fmla="*/ 712 h 10000"/>
              <a:gd name="connsiteX48" fmla="*/ 5946 w 10000"/>
              <a:gd name="connsiteY48" fmla="*/ 89 h 10000"/>
              <a:gd name="connsiteX49" fmla="*/ 6638 w 10000"/>
              <a:gd name="connsiteY49" fmla="*/ 0 h 10000"/>
              <a:gd name="connsiteX50" fmla="*/ 6873 w 10000"/>
              <a:gd name="connsiteY50" fmla="*/ 89 h 10000"/>
              <a:gd name="connsiteX51" fmla="*/ 7011 w 10000"/>
              <a:gd name="connsiteY51" fmla="*/ 356 h 10000"/>
              <a:gd name="connsiteX52" fmla="*/ 7385 w 10000"/>
              <a:gd name="connsiteY52" fmla="*/ 8754 h 10000"/>
              <a:gd name="connsiteX53" fmla="*/ 8174 w 10000"/>
              <a:gd name="connsiteY53" fmla="*/ 8711 h 10000"/>
              <a:gd name="connsiteX54" fmla="*/ 8339 w 10000"/>
              <a:gd name="connsiteY54" fmla="*/ 4667 h 10000"/>
              <a:gd name="connsiteX55" fmla="*/ 8519 w 10000"/>
              <a:gd name="connsiteY55" fmla="*/ 5019 h 10000"/>
              <a:gd name="connsiteX56" fmla="*/ 8616 w 10000"/>
              <a:gd name="connsiteY56" fmla="*/ 4709 h 10000"/>
              <a:gd name="connsiteX57" fmla="*/ 8658 w 10000"/>
              <a:gd name="connsiteY57" fmla="*/ 5197 h 10000"/>
              <a:gd name="connsiteX58" fmla="*/ 8699 w 10000"/>
              <a:gd name="connsiteY58" fmla="*/ 7287 h 10000"/>
              <a:gd name="connsiteX59" fmla="*/ 8783 w 10000"/>
              <a:gd name="connsiteY59" fmla="*/ 6396 h 10000"/>
              <a:gd name="connsiteX60" fmla="*/ 8879 w 10000"/>
              <a:gd name="connsiteY60" fmla="*/ 7821 h 10000"/>
              <a:gd name="connsiteX61" fmla="*/ 8935 w 10000"/>
              <a:gd name="connsiteY61" fmla="*/ 7910 h 10000"/>
              <a:gd name="connsiteX62" fmla="*/ 8975 w 10000"/>
              <a:gd name="connsiteY62" fmla="*/ 7821 h 10000"/>
              <a:gd name="connsiteX63" fmla="*/ 8975 w 10000"/>
              <a:gd name="connsiteY63" fmla="*/ 7643 h 10000"/>
              <a:gd name="connsiteX64" fmla="*/ 9087 w 10000"/>
              <a:gd name="connsiteY64" fmla="*/ 7821 h 10000"/>
              <a:gd name="connsiteX65" fmla="*/ 9155 w 10000"/>
              <a:gd name="connsiteY65" fmla="*/ 7685 h 10000"/>
              <a:gd name="connsiteX66" fmla="*/ 9184 w 10000"/>
              <a:gd name="connsiteY66" fmla="*/ 7334 h 10000"/>
              <a:gd name="connsiteX67" fmla="*/ 9226 w 10000"/>
              <a:gd name="connsiteY67" fmla="*/ 7685 h 10000"/>
              <a:gd name="connsiteX68" fmla="*/ 9294 w 10000"/>
              <a:gd name="connsiteY68" fmla="*/ 7512 h 10000"/>
              <a:gd name="connsiteX69" fmla="*/ 9405 w 10000"/>
              <a:gd name="connsiteY69" fmla="*/ 7554 h 10000"/>
              <a:gd name="connsiteX70" fmla="*/ 9433 w 10000"/>
              <a:gd name="connsiteY70" fmla="*/ 7774 h 10000"/>
              <a:gd name="connsiteX71" fmla="*/ 9474 w 10000"/>
              <a:gd name="connsiteY71" fmla="*/ 7821 h 10000"/>
              <a:gd name="connsiteX72" fmla="*/ 9515 w 10000"/>
              <a:gd name="connsiteY72" fmla="*/ 7685 h 10000"/>
              <a:gd name="connsiteX73" fmla="*/ 9572 w 10000"/>
              <a:gd name="connsiteY73" fmla="*/ 7774 h 10000"/>
              <a:gd name="connsiteX74" fmla="*/ 9627 w 10000"/>
              <a:gd name="connsiteY74" fmla="*/ 7245 h 10000"/>
              <a:gd name="connsiteX75" fmla="*/ 9711 w 10000"/>
              <a:gd name="connsiteY75" fmla="*/ 7821 h 10000"/>
              <a:gd name="connsiteX76" fmla="*/ 9820 w 10000"/>
              <a:gd name="connsiteY76" fmla="*/ 7465 h 10000"/>
              <a:gd name="connsiteX77" fmla="*/ 9848 w 10000"/>
              <a:gd name="connsiteY77" fmla="*/ 7245 h 10000"/>
              <a:gd name="connsiteX78" fmla="*/ 9916 w 10000"/>
              <a:gd name="connsiteY78" fmla="*/ 7465 h 10000"/>
              <a:gd name="connsiteX79" fmla="*/ 10000 w 10000"/>
              <a:gd name="connsiteY79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78 w 10000"/>
              <a:gd name="connsiteY46" fmla="*/ 1364 h 10000"/>
              <a:gd name="connsiteX47" fmla="*/ 5809 w 10000"/>
              <a:gd name="connsiteY47" fmla="*/ 712 h 10000"/>
              <a:gd name="connsiteX48" fmla="*/ 5946 w 10000"/>
              <a:gd name="connsiteY48" fmla="*/ 89 h 10000"/>
              <a:gd name="connsiteX49" fmla="*/ 6638 w 10000"/>
              <a:gd name="connsiteY49" fmla="*/ 0 h 10000"/>
              <a:gd name="connsiteX50" fmla="*/ 6873 w 10000"/>
              <a:gd name="connsiteY50" fmla="*/ 89 h 10000"/>
              <a:gd name="connsiteX51" fmla="*/ 7011 w 10000"/>
              <a:gd name="connsiteY51" fmla="*/ 356 h 10000"/>
              <a:gd name="connsiteX52" fmla="*/ 7385 w 10000"/>
              <a:gd name="connsiteY52" fmla="*/ 8754 h 10000"/>
              <a:gd name="connsiteX53" fmla="*/ 8174 w 10000"/>
              <a:gd name="connsiteY53" fmla="*/ 8711 h 10000"/>
              <a:gd name="connsiteX54" fmla="*/ 8339 w 10000"/>
              <a:gd name="connsiteY54" fmla="*/ 4667 h 10000"/>
              <a:gd name="connsiteX55" fmla="*/ 8519 w 10000"/>
              <a:gd name="connsiteY55" fmla="*/ 5019 h 10000"/>
              <a:gd name="connsiteX56" fmla="*/ 8616 w 10000"/>
              <a:gd name="connsiteY56" fmla="*/ 4709 h 10000"/>
              <a:gd name="connsiteX57" fmla="*/ 8658 w 10000"/>
              <a:gd name="connsiteY57" fmla="*/ 5197 h 10000"/>
              <a:gd name="connsiteX58" fmla="*/ 8699 w 10000"/>
              <a:gd name="connsiteY58" fmla="*/ 7287 h 10000"/>
              <a:gd name="connsiteX59" fmla="*/ 8783 w 10000"/>
              <a:gd name="connsiteY59" fmla="*/ 6396 h 10000"/>
              <a:gd name="connsiteX60" fmla="*/ 8879 w 10000"/>
              <a:gd name="connsiteY60" fmla="*/ 7821 h 10000"/>
              <a:gd name="connsiteX61" fmla="*/ 8935 w 10000"/>
              <a:gd name="connsiteY61" fmla="*/ 7910 h 10000"/>
              <a:gd name="connsiteX62" fmla="*/ 8975 w 10000"/>
              <a:gd name="connsiteY62" fmla="*/ 7821 h 10000"/>
              <a:gd name="connsiteX63" fmla="*/ 8975 w 10000"/>
              <a:gd name="connsiteY63" fmla="*/ 7643 h 10000"/>
              <a:gd name="connsiteX64" fmla="*/ 9087 w 10000"/>
              <a:gd name="connsiteY64" fmla="*/ 7821 h 10000"/>
              <a:gd name="connsiteX65" fmla="*/ 9155 w 10000"/>
              <a:gd name="connsiteY65" fmla="*/ 7685 h 10000"/>
              <a:gd name="connsiteX66" fmla="*/ 9184 w 10000"/>
              <a:gd name="connsiteY66" fmla="*/ 7334 h 10000"/>
              <a:gd name="connsiteX67" fmla="*/ 9226 w 10000"/>
              <a:gd name="connsiteY67" fmla="*/ 7685 h 10000"/>
              <a:gd name="connsiteX68" fmla="*/ 9294 w 10000"/>
              <a:gd name="connsiteY68" fmla="*/ 7512 h 10000"/>
              <a:gd name="connsiteX69" fmla="*/ 9405 w 10000"/>
              <a:gd name="connsiteY69" fmla="*/ 7554 h 10000"/>
              <a:gd name="connsiteX70" fmla="*/ 9433 w 10000"/>
              <a:gd name="connsiteY70" fmla="*/ 7774 h 10000"/>
              <a:gd name="connsiteX71" fmla="*/ 9474 w 10000"/>
              <a:gd name="connsiteY71" fmla="*/ 7821 h 10000"/>
              <a:gd name="connsiteX72" fmla="*/ 9515 w 10000"/>
              <a:gd name="connsiteY72" fmla="*/ 7685 h 10000"/>
              <a:gd name="connsiteX73" fmla="*/ 9572 w 10000"/>
              <a:gd name="connsiteY73" fmla="*/ 7774 h 10000"/>
              <a:gd name="connsiteX74" fmla="*/ 9627 w 10000"/>
              <a:gd name="connsiteY74" fmla="*/ 7245 h 10000"/>
              <a:gd name="connsiteX75" fmla="*/ 9711 w 10000"/>
              <a:gd name="connsiteY75" fmla="*/ 7821 h 10000"/>
              <a:gd name="connsiteX76" fmla="*/ 9820 w 10000"/>
              <a:gd name="connsiteY76" fmla="*/ 7465 h 10000"/>
              <a:gd name="connsiteX77" fmla="*/ 9848 w 10000"/>
              <a:gd name="connsiteY77" fmla="*/ 7245 h 10000"/>
              <a:gd name="connsiteX78" fmla="*/ 9916 w 10000"/>
              <a:gd name="connsiteY78" fmla="*/ 7465 h 10000"/>
              <a:gd name="connsiteX79" fmla="*/ 10000 w 10000"/>
              <a:gd name="connsiteY79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78 w 10000"/>
              <a:gd name="connsiteY46" fmla="*/ 1364 h 10000"/>
              <a:gd name="connsiteX47" fmla="*/ 5946 w 10000"/>
              <a:gd name="connsiteY47" fmla="*/ 89 h 10000"/>
              <a:gd name="connsiteX48" fmla="*/ 6638 w 10000"/>
              <a:gd name="connsiteY48" fmla="*/ 0 h 10000"/>
              <a:gd name="connsiteX49" fmla="*/ 6873 w 10000"/>
              <a:gd name="connsiteY49" fmla="*/ 89 h 10000"/>
              <a:gd name="connsiteX50" fmla="*/ 7011 w 10000"/>
              <a:gd name="connsiteY50" fmla="*/ 356 h 10000"/>
              <a:gd name="connsiteX51" fmla="*/ 7385 w 10000"/>
              <a:gd name="connsiteY51" fmla="*/ 8754 h 10000"/>
              <a:gd name="connsiteX52" fmla="*/ 8174 w 10000"/>
              <a:gd name="connsiteY52" fmla="*/ 8711 h 10000"/>
              <a:gd name="connsiteX53" fmla="*/ 8339 w 10000"/>
              <a:gd name="connsiteY53" fmla="*/ 4667 h 10000"/>
              <a:gd name="connsiteX54" fmla="*/ 8519 w 10000"/>
              <a:gd name="connsiteY54" fmla="*/ 5019 h 10000"/>
              <a:gd name="connsiteX55" fmla="*/ 8616 w 10000"/>
              <a:gd name="connsiteY55" fmla="*/ 4709 h 10000"/>
              <a:gd name="connsiteX56" fmla="*/ 8658 w 10000"/>
              <a:gd name="connsiteY56" fmla="*/ 5197 h 10000"/>
              <a:gd name="connsiteX57" fmla="*/ 8699 w 10000"/>
              <a:gd name="connsiteY57" fmla="*/ 7287 h 10000"/>
              <a:gd name="connsiteX58" fmla="*/ 8783 w 10000"/>
              <a:gd name="connsiteY58" fmla="*/ 6396 h 10000"/>
              <a:gd name="connsiteX59" fmla="*/ 8879 w 10000"/>
              <a:gd name="connsiteY59" fmla="*/ 7821 h 10000"/>
              <a:gd name="connsiteX60" fmla="*/ 8935 w 10000"/>
              <a:gd name="connsiteY60" fmla="*/ 7910 h 10000"/>
              <a:gd name="connsiteX61" fmla="*/ 8975 w 10000"/>
              <a:gd name="connsiteY61" fmla="*/ 7821 h 10000"/>
              <a:gd name="connsiteX62" fmla="*/ 8975 w 10000"/>
              <a:gd name="connsiteY62" fmla="*/ 7643 h 10000"/>
              <a:gd name="connsiteX63" fmla="*/ 9087 w 10000"/>
              <a:gd name="connsiteY63" fmla="*/ 7821 h 10000"/>
              <a:gd name="connsiteX64" fmla="*/ 9155 w 10000"/>
              <a:gd name="connsiteY64" fmla="*/ 7685 h 10000"/>
              <a:gd name="connsiteX65" fmla="*/ 9184 w 10000"/>
              <a:gd name="connsiteY65" fmla="*/ 7334 h 10000"/>
              <a:gd name="connsiteX66" fmla="*/ 9226 w 10000"/>
              <a:gd name="connsiteY66" fmla="*/ 7685 h 10000"/>
              <a:gd name="connsiteX67" fmla="*/ 9294 w 10000"/>
              <a:gd name="connsiteY67" fmla="*/ 7512 h 10000"/>
              <a:gd name="connsiteX68" fmla="*/ 9405 w 10000"/>
              <a:gd name="connsiteY68" fmla="*/ 7554 h 10000"/>
              <a:gd name="connsiteX69" fmla="*/ 9433 w 10000"/>
              <a:gd name="connsiteY69" fmla="*/ 7774 h 10000"/>
              <a:gd name="connsiteX70" fmla="*/ 9474 w 10000"/>
              <a:gd name="connsiteY70" fmla="*/ 7821 h 10000"/>
              <a:gd name="connsiteX71" fmla="*/ 9515 w 10000"/>
              <a:gd name="connsiteY71" fmla="*/ 7685 h 10000"/>
              <a:gd name="connsiteX72" fmla="*/ 9572 w 10000"/>
              <a:gd name="connsiteY72" fmla="*/ 7774 h 10000"/>
              <a:gd name="connsiteX73" fmla="*/ 9627 w 10000"/>
              <a:gd name="connsiteY73" fmla="*/ 7245 h 10000"/>
              <a:gd name="connsiteX74" fmla="*/ 9711 w 10000"/>
              <a:gd name="connsiteY74" fmla="*/ 7821 h 10000"/>
              <a:gd name="connsiteX75" fmla="*/ 9820 w 10000"/>
              <a:gd name="connsiteY75" fmla="*/ 7465 h 10000"/>
              <a:gd name="connsiteX76" fmla="*/ 9848 w 10000"/>
              <a:gd name="connsiteY76" fmla="*/ 7245 h 10000"/>
              <a:gd name="connsiteX77" fmla="*/ 9916 w 10000"/>
              <a:gd name="connsiteY77" fmla="*/ 7465 h 10000"/>
              <a:gd name="connsiteX78" fmla="*/ 10000 w 10000"/>
              <a:gd name="connsiteY78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78 w 10000"/>
              <a:gd name="connsiteY46" fmla="*/ 1364 h 10000"/>
              <a:gd name="connsiteX47" fmla="*/ 5946 w 10000"/>
              <a:gd name="connsiteY47" fmla="*/ 89 h 10000"/>
              <a:gd name="connsiteX48" fmla="*/ 6638 w 10000"/>
              <a:gd name="connsiteY48" fmla="*/ 0 h 10000"/>
              <a:gd name="connsiteX49" fmla="*/ 6873 w 10000"/>
              <a:gd name="connsiteY49" fmla="*/ 89 h 10000"/>
              <a:gd name="connsiteX50" fmla="*/ 7011 w 10000"/>
              <a:gd name="connsiteY50" fmla="*/ 356 h 10000"/>
              <a:gd name="connsiteX51" fmla="*/ 7385 w 10000"/>
              <a:gd name="connsiteY51" fmla="*/ 8754 h 10000"/>
              <a:gd name="connsiteX52" fmla="*/ 8174 w 10000"/>
              <a:gd name="connsiteY52" fmla="*/ 8711 h 10000"/>
              <a:gd name="connsiteX53" fmla="*/ 8339 w 10000"/>
              <a:gd name="connsiteY53" fmla="*/ 4667 h 10000"/>
              <a:gd name="connsiteX54" fmla="*/ 8519 w 10000"/>
              <a:gd name="connsiteY54" fmla="*/ 5019 h 10000"/>
              <a:gd name="connsiteX55" fmla="*/ 8616 w 10000"/>
              <a:gd name="connsiteY55" fmla="*/ 4709 h 10000"/>
              <a:gd name="connsiteX56" fmla="*/ 8658 w 10000"/>
              <a:gd name="connsiteY56" fmla="*/ 5197 h 10000"/>
              <a:gd name="connsiteX57" fmla="*/ 8699 w 10000"/>
              <a:gd name="connsiteY57" fmla="*/ 7287 h 10000"/>
              <a:gd name="connsiteX58" fmla="*/ 8783 w 10000"/>
              <a:gd name="connsiteY58" fmla="*/ 6396 h 10000"/>
              <a:gd name="connsiteX59" fmla="*/ 8879 w 10000"/>
              <a:gd name="connsiteY59" fmla="*/ 7821 h 10000"/>
              <a:gd name="connsiteX60" fmla="*/ 8935 w 10000"/>
              <a:gd name="connsiteY60" fmla="*/ 7910 h 10000"/>
              <a:gd name="connsiteX61" fmla="*/ 8975 w 10000"/>
              <a:gd name="connsiteY61" fmla="*/ 7821 h 10000"/>
              <a:gd name="connsiteX62" fmla="*/ 8975 w 10000"/>
              <a:gd name="connsiteY62" fmla="*/ 7643 h 10000"/>
              <a:gd name="connsiteX63" fmla="*/ 9087 w 10000"/>
              <a:gd name="connsiteY63" fmla="*/ 7821 h 10000"/>
              <a:gd name="connsiteX64" fmla="*/ 9155 w 10000"/>
              <a:gd name="connsiteY64" fmla="*/ 7685 h 10000"/>
              <a:gd name="connsiteX65" fmla="*/ 9184 w 10000"/>
              <a:gd name="connsiteY65" fmla="*/ 7334 h 10000"/>
              <a:gd name="connsiteX66" fmla="*/ 9226 w 10000"/>
              <a:gd name="connsiteY66" fmla="*/ 7685 h 10000"/>
              <a:gd name="connsiteX67" fmla="*/ 9294 w 10000"/>
              <a:gd name="connsiteY67" fmla="*/ 7512 h 10000"/>
              <a:gd name="connsiteX68" fmla="*/ 9405 w 10000"/>
              <a:gd name="connsiteY68" fmla="*/ 7554 h 10000"/>
              <a:gd name="connsiteX69" fmla="*/ 9433 w 10000"/>
              <a:gd name="connsiteY69" fmla="*/ 7774 h 10000"/>
              <a:gd name="connsiteX70" fmla="*/ 9474 w 10000"/>
              <a:gd name="connsiteY70" fmla="*/ 7821 h 10000"/>
              <a:gd name="connsiteX71" fmla="*/ 9515 w 10000"/>
              <a:gd name="connsiteY71" fmla="*/ 7685 h 10000"/>
              <a:gd name="connsiteX72" fmla="*/ 9572 w 10000"/>
              <a:gd name="connsiteY72" fmla="*/ 7774 h 10000"/>
              <a:gd name="connsiteX73" fmla="*/ 9627 w 10000"/>
              <a:gd name="connsiteY73" fmla="*/ 7245 h 10000"/>
              <a:gd name="connsiteX74" fmla="*/ 9711 w 10000"/>
              <a:gd name="connsiteY74" fmla="*/ 7821 h 10000"/>
              <a:gd name="connsiteX75" fmla="*/ 9820 w 10000"/>
              <a:gd name="connsiteY75" fmla="*/ 7465 h 10000"/>
              <a:gd name="connsiteX76" fmla="*/ 9848 w 10000"/>
              <a:gd name="connsiteY76" fmla="*/ 7245 h 10000"/>
              <a:gd name="connsiteX77" fmla="*/ 9916 w 10000"/>
              <a:gd name="connsiteY77" fmla="*/ 7465 h 10000"/>
              <a:gd name="connsiteX78" fmla="*/ 10000 w 10000"/>
              <a:gd name="connsiteY78" fmla="*/ 7376 h 10000"/>
              <a:gd name="connsiteX0" fmla="*/ 0 w 10000"/>
              <a:gd name="connsiteY0" fmla="*/ 10000 h 10000"/>
              <a:gd name="connsiteX1" fmla="*/ 452 w 10000"/>
              <a:gd name="connsiteY1" fmla="*/ 2165 h 10000"/>
              <a:gd name="connsiteX2" fmla="*/ 563 w 10000"/>
              <a:gd name="connsiteY2" fmla="*/ 2043 h 10000"/>
              <a:gd name="connsiteX3" fmla="*/ 632 w 10000"/>
              <a:gd name="connsiteY3" fmla="*/ 1687 h 10000"/>
              <a:gd name="connsiteX4" fmla="*/ 702 w 10000"/>
              <a:gd name="connsiteY4" fmla="*/ 1687 h 10000"/>
              <a:gd name="connsiteX5" fmla="*/ 746 w 10000"/>
              <a:gd name="connsiteY5" fmla="*/ 2582 h 10000"/>
              <a:gd name="connsiteX6" fmla="*/ 840 w 10000"/>
              <a:gd name="connsiteY6" fmla="*/ 1645 h 10000"/>
              <a:gd name="connsiteX7" fmla="*/ 948 w 10000"/>
              <a:gd name="connsiteY7" fmla="*/ 2582 h 10000"/>
              <a:gd name="connsiteX8" fmla="*/ 1007 w 10000"/>
              <a:gd name="connsiteY8" fmla="*/ 1645 h 10000"/>
              <a:gd name="connsiteX9" fmla="*/ 1062 w 10000"/>
              <a:gd name="connsiteY9" fmla="*/ 1912 h 10000"/>
              <a:gd name="connsiteX10" fmla="*/ 1103 w 10000"/>
              <a:gd name="connsiteY10" fmla="*/ 1556 h 10000"/>
              <a:gd name="connsiteX11" fmla="*/ 1152 w 10000"/>
              <a:gd name="connsiteY11" fmla="*/ 2630 h 10000"/>
              <a:gd name="connsiteX12" fmla="*/ 1228 w 10000"/>
              <a:gd name="connsiteY12" fmla="*/ 1378 h 10000"/>
              <a:gd name="connsiteX13" fmla="*/ 1232 w 10000"/>
              <a:gd name="connsiteY13" fmla="*/ 2376 h 10000"/>
              <a:gd name="connsiteX14" fmla="*/ 1294 w 10000"/>
              <a:gd name="connsiteY14" fmla="*/ 2726 h 10000"/>
              <a:gd name="connsiteX15" fmla="*/ 1342 w 10000"/>
              <a:gd name="connsiteY15" fmla="*/ 2513 h 10000"/>
              <a:gd name="connsiteX16" fmla="*/ 1367 w 10000"/>
              <a:gd name="connsiteY16" fmla="*/ 1823 h 10000"/>
              <a:gd name="connsiteX17" fmla="*/ 1460 w 10000"/>
              <a:gd name="connsiteY17" fmla="*/ 2726 h 10000"/>
              <a:gd name="connsiteX18" fmla="*/ 1537 w 10000"/>
              <a:gd name="connsiteY18" fmla="*/ 2360 h 10000"/>
              <a:gd name="connsiteX19" fmla="*/ 1575 w 10000"/>
              <a:gd name="connsiteY19" fmla="*/ 1200 h 10000"/>
              <a:gd name="connsiteX20" fmla="*/ 1601 w 10000"/>
              <a:gd name="connsiteY20" fmla="*/ 2493 h 10000"/>
              <a:gd name="connsiteX21" fmla="*/ 1629 w 10000"/>
              <a:gd name="connsiteY21" fmla="*/ 2179 h 10000"/>
              <a:gd name="connsiteX22" fmla="*/ 1640 w 10000"/>
              <a:gd name="connsiteY22" fmla="*/ 2401 h 10000"/>
              <a:gd name="connsiteX23" fmla="*/ 1699 w 10000"/>
              <a:gd name="connsiteY23" fmla="*/ 1865 h 10000"/>
              <a:gd name="connsiteX24" fmla="*/ 1796 w 10000"/>
              <a:gd name="connsiteY24" fmla="*/ 2441 h 10000"/>
              <a:gd name="connsiteX25" fmla="*/ 1791 w 10000"/>
              <a:gd name="connsiteY25" fmla="*/ 2983 h 10000"/>
              <a:gd name="connsiteX26" fmla="*/ 1854 w 10000"/>
              <a:gd name="connsiteY26" fmla="*/ 3328 h 10000"/>
              <a:gd name="connsiteX27" fmla="*/ 1892 w 10000"/>
              <a:gd name="connsiteY27" fmla="*/ 2755 h 10000"/>
              <a:gd name="connsiteX28" fmla="*/ 1940 w 10000"/>
              <a:gd name="connsiteY28" fmla="*/ 3378 h 10000"/>
              <a:gd name="connsiteX29" fmla="*/ 2031 w 10000"/>
              <a:gd name="connsiteY29" fmla="*/ 1556 h 10000"/>
              <a:gd name="connsiteX30" fmla="*/ 2097 w 10000"/>
              <a:gd name="connsiteY30" fmla="*/ 3604 h 10000"/>
              <a:gd name="connsiteX31" fmla="*/ 2224 w 10000"/>
              <a:gd name="connsiteY31" fmla="*/ 2577 h 10000"/>
              <a:gd name="connsiteX32" fmla="*/ 2237 w 10000"/>
              <a:gd name="connsiteY32" fmla="*/ 2043 h 10000"/>
              <a:gd name="connsiteX33" fmla="*/ 2316 w 10000"/>
              <a:gd name="connsiteY33" fmla="*/ 2815 h 10000"/>
              <a:gd name="connsiteX34" fmla="*/ 2376 w 10000"/>
              <a:gd name="connsiteY34" fmla="*/ 2310 h 10000"/>
              <a:gd name="connsiteX35" fmla="*/ 2431 w 10000"/>
              <a:gd name="connsiteY35" fmla="*/ 2221 h 10000"/>
              <a:gd name="connsiteX36" fmla="*/ 2529 w 10000"/>
              <a:gd name="connsiteY36" fmla="*/ 1645 h 10000"/>
              <a:gd name="connsiteX37" fmla="*/ 2686 w 10000"/>
              <a:gd name="connsiteY37" fmla="*/ 1571 h 10000"/>
              <a:gd name="connsiteX38" fmla="*/ 3124 w 10000"/>
              <a:gd name="connsiteY38" fmla="*/ 1864 h 10000"/>
              <a:gd name="connsiteX39" fmla="*/ 3227 w 10000"/>
              <a:gd name="connsiteY39" fmla="*/ 2884 h 10000"/>
              <a:gd name="connsiteX40" fmla="*/ 3590 w 10000"/>
              <a:gd name="connsiteY40" fmla="*/ 2567 h 10000"/>
              <a:gd name="connsiteX41" fmla="*/ 3685 w 10000"/>
              <a:gd name="connsiteY41" fmla="*/ 1508 h 10000"/>
              <a:gd name="connsiteX42" fmla="*/ 3779 w 10000"/>
              <a:gd name="connsiteY42" fmla="*/ 1134 h 10000"/>
              <a:gd name="connsiteX43" fmla="*/ 4299 w 10000"/>
              <a:gd name="connsiteY43" fmla="*/ 6710 h 10000"/>
              <a:gd name="connsiteX44" fmla="*/ 4577 w 10000"/>
              <a:gd name="connsiteY44" fmla="*/ 6710 h 10000"/>
              <a:gd name="connsiteX45" fmla="*/ 5237 w 10000"/>
              <a:gd name="connsiteY45" fmla="*/ 746 h 10000"/>
              <a:gd name="connsiteX46" fmla="*/ 5778 w 10000"/>
              <a:gd name="connsiteY46" fmla="*/ 1364 h 10000"/>
              <a:gd name="connsiteX47" fmla="*/ 5946 w 10000"/>
              <a:gd name="connsiteY47" fmla="*/ 89 h 10000"/>
              <a:gd name="connsiteX48" fmla="*/ 6638 w 10000"/>
              <a:gd name="connsiteY48" fmla="*/ 0 h 10000"/>
              <a:gd name="connsiteX49" fmla="*/ 6873 w 10000"/>
              <a:gd name="connsiteY49" fmla="*/ 89 h 10000"/>
              <a:gd name="connsiteX50" fmla="*/ 7011 w 10000"/>
              <a:gd name="connsiteY50" fmla="*/ 356 h 10000"/>
              <a:gd name="connsiteX51" fmla="*/ 7385 w 10000"/>
              <a:gd name="connsiteY51" fmla="*/ 8754 h 10000"/>
              <a:gd name="connsiteX52" fmla="*/ 8174 w 10000"/>
              <a:gd name="connsiteY52" fmla="*/ 8711 h 10000"/>
              <a:gd name="connsiteX53" fmla="*/ 8339 w 10000"/>
              <a:gd name="connsiteY53" fmla="*/ 4667 h 10000"/>
              <a:gd name="connsiteX54" fmla="*/ 8519 w 10000"/>
              <a:gd name="connsiteY54" fmla="*/ 5019 h 10000"/>
              <a:gd name="connsiteX55" fmla="*/ 8616 w 10000"/>
              <a:gd name="connsiteY55" fmla="*/ 4709 h 10000"/>
              <a:gd name="connsiteX56" fmla="*/ 8658 w 10000"/>
              <a:gd name="connsiteY56" fmla="*/ 5197 h 10000"/>
              <a:gd name="connsiteX57" fmla="*/ 8699 w 10000"/>
              <a:gd name="connsiteY57" fmla="*/ 7287 h 10000"/>
              <a:gd name="connsiteX58" fmla="*/ 8783 w 10000"/>
              <a:gd name="connsiteY58" fmla="*/ 6396 h 10000"/>
              <a:gd name="connsiteX59" fmla="*/ 8879 w 10000"/>
              <a:gd name="connsiteY59" fmla="*/ 7821 h 10000"/>
              <a:gd name="connsiteX60" fmla="*/ 8935 w 10000"/>
              <a:gd name="connsiteY60" fmla="*/ 7910 h 10000"/>
              <a:gd name="connsiteX61" fmla="*/ 8975 w 10000"/>
              <a:gd name="connsiteY61" fmla="*/ 7821 h 10000"/>
              <a:gd name="connsiteX62" fmla="*/ 8975 w 10000"/>
              <a:gd name="connsiteY62" fmla="*/ 7643 h 10000"/>
              <a:gd name="connsiteX63" fmla="*/ 9087 w 10000"/>
              <a:gd name="connsiteY63" fmla="*/ 7821 h 10000"/>
              <a:gd name="connsiteX64" fmla="*/ 9155 w 10000"/>
              <a:gd name="connsiteY64" fmla="*/ 7685 h 10000"/>
              <a:gd name="connsiteX65" fmla="*/ 9184 w 10000"/>
              <a:gd name="connsiteY65" fmla="*/ 7334 h 10000"/>
              <a:gd name="connsiteX66" fmla="*/ 9226 w 10000"/>
              <a:gd name="connsiteY66" fmla="*/ 7685 h 10000"/>
              <a:gd name="connsiteX67" fmla="*/ 9294 w 10000"/>
              <a:gd name="connsiteY67" fmla="*/ 7512 h 10000"/>
              <a:gd name="connsiteX68" fmla="*/ 9405 w 10000"/>
              <a:gd name="connsiteY68" fmla="*/ 7554 h 10000"/>
              <a:gd name="connsiteX69" fmla="*/ 9433 w 10000"/>
              <a:gd name="connsiteY69" fmla="*/ 7774 h 10000"/>
              <a:gd name="connsiteX70" fmla="*/ 9474 w 10000"/>
              <a:gd name="connsiteY70" fmla="*/ 7821 h 10000"/>
              <a:gd name="connsiteX71" fmla="*/ 9515 w 10000"/>
              <a:gd name="connsiteY71" fmla="*/ 7685 h 10000"/>
              <a:gd name="connsiteX72" fmla="*/ 9572 w 10000"/>
              <a:gd name="connsiteY72" fmla="*/ 7774 h 10000"/>
              <a:gd name="connsiteX73" fmla="*/ 9627 w 10000"/>
              <a:gd name="connsiteY73" fmla="*/ 7245 h 10000"/>
              <a:gd name="connsiteX74" fmla="*/ 9711 w 10000"/>
              <a:gd name="connsiteY74" fmla="*/ 7821 h 10000"/>
              <a:gd name="connsiteX75" fmla="*/ 9820 w 10000"/>
              <a:gd name="connsiteY75" fmla="*/ 7465 h 10000"/>
              <a:gd name="connsiteX76" fmla="*/ 9848 w 10000"/>
              <a:gd name="connsiteY76" fmla="*/ 7245 h 10000"/>
              <a:gd name="connsiteX77" fmla="*/ 9916 w 10000"/>
              <a:gd name="connsiteY77" fmla="*/ 7465 h 10000"/>
              <a:gd name="connsiteX78" fmla="*/ 10000 w 10000"/>
              <a:gd name="connsiteY78" fmla="*/ 7376 h 10000"/>
              <a:gd name="connsiteX0" fmla="*/ 0 w 10000"/>
              <a:gd name="connsiteY0" fmla="*/ 9911 h 9911"/>
              <a:gd name="connsiteX1" fmla="*/ 452 w 10000"/>
              <a:gd name="connsiteY1" fmla="*/ 2076 h 9911"/>
              <a:gd name="connsiteX2" fmla="*/ 563 w 10000"/>
              <a:gd name="connsiteY2" fmla="*/ 1954 h 9911"/>
              <a:gd name="connsiteX3" fmla="*/ 632 w 10000"/>
              <a:gd name="connsiteY3" fmla="*/ 1598 h 9911"/>
              <a:gd name="connsiteX4" fmla="*/ 702 w 10000"/>
              <a:gd name="connsiteY4" fmla="*/ 1598 h 9911"/>
              <a:gd name="connsiteX5" fmla="*/ 746 w 10000"/>
              <a:gd name="connsiteY5" fmla="*/ 2493 h 9911"/>
              <a:gd name="connsiteX6" fmla="*/ 840 w 10000"/>
              <a:gd name="connsiteY6" fmla="*/ 1556 h 9911"/>
              <a:gd name="connsiteX7" fmla="*/ 948 w 10000"/>
              <a:gd name="connsiteY7" fmla="*/ 2493 h 9911"/>
              <a:gd name="connsiteX8" fmla="*/ 1007 w 10000"/>
              <a:gd name="connsiteY8" fmla="*/ 1556 h 9911"/>
              <a:gd name="connsiteX9" fmla="*/ 1062 w 10000"/>
              <a:gd name="connsiteY9" fmla="*/ 1823 h 9911"/>
              <a:gd name="connsiteX10" fmla="*/ 1103 w 10000"/>
              <a:gd name="connsiteY10" fmla="*/ 1467 h 9911"/>
              <a:gd name="connsiteX11" fmla="*/ 1152 w 10000"/>
              <a:gd name="connsiteY11" fmla="*/ 2541 h 9911"/>
              <a:gd name="connsiteX12" fmla="*/ 1228 w 10000"/>
              <a:gd name="connsiteY12" fmla="*/ 1289 h 9911"/>
              <a:gd name="connsiteX13" fmla="*/ 1232 w 10000"/>
              <a:gd name="connsiteY13" fmla="*/ 2287 h 9911"/>
              <a:gd name="connsiteX14" fmla="*/ 1294 w 10000"/>
              <a:gd name="connsiteY14" fmla="*/ 2637 h 9911"/>
              <a:gd name="connsiteX15" fmla="*/ 1342 w 10000"/>
              <a:gd name="connsiteY15" fmla="*/ 2424 h 9911"/>
              <a:gd name="connsiteX16" fmla="*/ 1367 w 10000"/>
              <a:gd name="connsiteY16" fmla="*/ 1734 h 9911"/>
              <a:gd name="connsiteX17" fmla="*/ 1460 w 10000"/>
              <a:gd name="connsiteY17" fmla="*/ 2637 h 9911"/>
              <a:gd name="connsiteX18" fmla="*/ 1537 w 10000"/>
              <a:gd name="connsiteY18" fmla="*/ 2271 h 9911"/>
              <a:gd name="connsiteX19" fmla="*/ 1575 w 10000"/>
              <a:gd name="connsiteY19" fmla="*/ 1111 h 9911"/>
              <a:gd name="connsiteX20" fmla="*/ 1601 w 10000"/>
              <a:gd name="connsiteY20" fmla="*/ 2404 h 9911"/>
              <a:gd name="connsiteX21" fmla="*/ 1629 w 10000"/>
              <a:gd name="connsiteY21" fmla="*/ 2090 h 9911"/>
              <a:gd name="connsiteX22" fmla="*/ 1640 w 10000"/>
              <a:gd name="connsiteY22" fmla="*/ 2312 h 9911"/>
              <a:gd name="connsiteX23" fmla="*/ 1699 w 10000"/>
              <a:gd name="connsiteY23" fmla="*/ 1776 h 9911"/>
              <a:gd name="connsiteX24" fmla="*/ 1796 w 10000"/>
              <a:gd name="connsiteY24" fmla="*/ 2352 h 9911"/>
              <a:gd name="connsiteX25" fmla="*/ 1791 w 10000"/>
              <a:gd name="connsiteY25" fmla="*/ 2894 h 9911"/>
              <a:gd name="connsiteX26" fmla="*/ 1854 w 10000"/>
              <a:gd name="connsiteY26" fmla="*/ 3239 h 9911"/>
              <a:gd name="connsiteX27" fmla="*/ 1892 w 10000"/>
              <a:gd name="connsiteY27" fmla="*/ 2666 h 9911"/>
              <a:gd name="connsiteX28" fmla="*/ 1940 w 10000"/>
              <a:gd name="connsiteY28" fmla="*/ 3289 h 9911"/>
              <a:gd name="connsiteX29" fmla="*/ 2031 w 10000"/>
              <a:gd name="connsiteY29" fmla="*/ 1467 h 9911"/>
              <a:gd name="connsiteX30" fmla="*/ 2097 w 10000"/>
              <a:gd name="connsiteY30" fmla="*/ 3515 h 9911"/>
              <a:gd name="connsiteX31" fmla="*/ 2224 w 10000"/>
              <a:gd name="connsiteY31" fmla="*/ 2488 h 9911"/>
              <a:gd name="connsiteX32" fmla="*/ 2237 w 10000"/>
              <a:gd name="connsiteY32" fmla="*/ 1954 h 9911"/>
              <a:gd name="connsiteX33" fmla="*/ 2316 w 10000"/>
              <a:gd name="connsiteY33" fmla="*/ 2726 h 9911"/>
              <a:gd name="connsiteX34" fmla="*/ 2376 w 10000"/>
              <a:gd name="connsiteY34" fmla="*/ 2221 h 9911"/>
              <a:gd name="connsiteX35" fmla="*/ 2431 w 10000"/>
              <a:gd name="connsiteY35" fmla="*/ 2132 h 9911"/>
              <a:gd name="connsiteX36" fmla="*/ 2529 w 10000"/>
              <a:gd name="connsiteY36" fmla="*/ 1556 h 9911"/>
              <a:gd name="connsiteX37" fmla="*/ 2686 w 10000"/>
              <a:gd name="connsiteY37" fmla="*/ 1482 h 9911"/>
              <a:gd name="connsiteX38" fmla="*/ 3124 w 10000"/>
              <a:gd name="connsiteY38" fmla="*/ 1775 h 9911"/>
              <a:gd name="connsiteX39" fmla="*/ 3227 w 10000"/>
              <a:gd name="connsiteY39" fmla="*/ 2795 h 9911"/>
              <a:gd name="connsiteX40" fmla="*/ 3590 w 10000"/>
              <a:gd name="connsiteY40" fmla="*/ 2478 h 9911"/>
              <a:gd name="connsiteX41" fmla="*/ 3685 w 10000"/>
              <a:gd name="connsiteY41" fmla="*/ 1419 h 9911"/>
              <a:gd name="connsiteX42" fmla="*/ 3779 w 10000"/>
              <a:gd name="connsiteY42" fmla="*/ 1045 h 9911"/>
              <a:gd name="connsiteX43" fmla="*/ 4299 w 10000"/>
              <a:gd name="connsiteY43" fmla="*/ 6621 h 9911"/>
              <a:gd name="connsiteX44" fmla="*/ 4577 w 10000"/>
              <a:gd name="connsiteY44" fmla="*/ 6621 h 9911"/>
              <a:gd name="connsiteX45" fmla="*/ 5237 w 10000"/>
              <a:gd name="connsiteY45" fmla="*/ 657 h 9911"/>
              <a:gd name="connsiteX46" fmla="*/ 5778 w 10000"/>
              <a:gd name="connsiteY46" fmla="*/ 1275 h 9911"/>
              <a:gd name="connsiteX47" fmla="*/ 5946 w 10000"/>
              <a:gd name="connsiteY47" fmla="*/ 0 h 9911"/>
              <a:gd name="connsiteX48" fmla="*/ 6493 w 10000"/>
              <a:gd name="connsiteY48" fmla="*/ 110 h 9911"/>
              <a:gd name="connsiteX49" fmla="*/ 6873 w 10000"/>
              <a:gd name="connsiteY49" fmla="*/ 0 h 9911"/>
              <a:gd name="connsiteX50" fmla="*/ 7011 w 10000"/>
              <a:gd name="connsiteY50" fmla="*/ 267 h 9911"/>
              <a:gd name="connsiteX51" fmla="*/ 7385 w 10000"/>
              <a:gd name="connsiteY51" fmla="*/ 8665 h 9911"/>
              <a:gd name="connsiteX52" fmla="*/ 8174 w 10000"/>
              <a:gd name="connsiteY52" fmla="*/ 8622 h 9911"/>
              <a:gd name="connsiteX53" fmla="*/ 8339 w 10000"/>
              <a:gd name="connsiteY53" fmla="*/ 4578 h 9911"/>
              <a:gd name="connsiteX54" fmla="*/ 8519 w 10000"/>
              <a:gd name="connsiteY54" fmla="*/ 4930 h 9911"/>
              <a:gd name="connsiteX55" fmla="*/ 8616 w 10000"/>
              <a:gd name="connsiteY55" fmla="*/ 4620 h 9911"/>
              <a:gd name="connsiteX56" fmla="*/ 8658 w 10000"/>
              <a:gd name="connsiteY56" fmla="*/ 5108 h 9911"/>
              <a:gd name="connsiteX57" fmla="*/ 8699 w 10000"/>
              <a:gd name="connsiteY57" fmla="*/ 7198 h 9911"/>
              <a:gd name="connsiteX58" fmla="*/ 8783 w 10000"/>
              <a:gd name="connsiteY58" fmla="*/ 6307 h 9911"/>
              <a:gd name="connsiteX59" fmla="*/ 8879 w 10000"/>
              <a:gd name="connsiteY59" fmla="*/ 7732 h 9911"/>
              <a:gd name="connsiteX60" fmla="*/ 8935 w 10000"/>
              <a:gd name="connsiteY60" fmla="*/ 7821 h 9911"/>
              <a:gd name="connsiteX61" fmla="*/ 8975 w 10000"/>
              <a:gd name="connsiteY61" fmla="*/ 7732 h 9911"/>
              <a:gd name="connsiteX62" fmla="*/ 8975 w 10000"/>
              <a:gd name="connsiteY62" fmla="*/ 7554 h 9911"/>
              <a:gd name="connsiteX63" fmla="*/ 9087 w 10000"/>
              <a:gd name="connsiteY63" fmla="*/ 7732 h 9911"/>
              <a:gd name="connsiteX64" fmla="*/ 9155 w 10000"/>
              <a:gd name="connsiteY64" fmla="*/ 7596 h 9911"/>
              <a:gd name="connsiteX65" fmla="*/ 9184 w 10000"/>
              <a:gd name="connsiteY65" fmla="*/ 7245 h 9911"/>
              <a:gd name="connsiteX66" fmla="*/ 9226 w 10000"/>
              <a:gd name="connsiteY66" fmla="*/ 7596 h 9911"/>
              <a:gd name="connsiteX67" fmla="*/ 9294 w 10000"/>
              <a:gd name="connsiteY67" fmla="*/ 7423 h 9911"/>
              <a:gd name="connsiteX68" fmla="*/ 9405 w 10000"/>
              <a:gd name="connsiteY68" fmla="*/ 7465 h 9911"/>
              <a:gd name="connsiteX69" fmla="*/ 9433 w 10000"/>
              <a:gd name="connsiteY69" fmla="*/ 7685 h 9911"/>
              <a:gd name="connsiteX70" fmla="*/ 9474 w 10000"/>
              <a:gd name="connsiteY70" fmla="*/ 7732 h 9911"/>
              <a:gd name="connsiteX71" fmla="*/ 9515 w 10000"/>
              <a:gd name="connsiteY71" fmla="*/ 7596 h 9911"/>
              <a:gd name="connsiteX72" fmla="*/ 9572 w 10000"/>
              <a:gd name="connsiteY72" fmla="*/ 7685 h 9911"/>
              <a:gd name="connsiteX73" fmla="*/ 9627 w 10000"/>
              <a:gd name="connsiteY73" fmla="*/ 7156 h 9911"/>
              <a:gd name="connsiteX74" fmla="*/ 9711 w 10000"/>
              <a:gd name="connsiteY74" fmla="*/ 7732 h 9911"/>
              <a:gd name="connsiteX75" fmla="*/ 9820 w 10000"/>
              <a:gd name="connsiteY75" fmla="*/ 7376 h 9911"/>
              <a:gd name="connsiteX76" fmla="*/ 9848 w 10000"/>
              <a:gd name="connsiteY76" fmla="*/ 7156 h 9911"/>
              <a:gd name="connsiteX77" fmla="*/ 9916 w 10000"/>
              <a:gd name="connsiteY77" fmla="*/ 7376 h 9911"/>
              <a:gd name="connsiteX78" fmla="*/ 10000 w 10000"/>
              <a:gd name="connsiteY78" fmla="*/ 7287 h 9911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11 w 10000"/>
              <a:gd name="connsiteY50" fmla="*/ 269 h 10000"/>
              <a:gd name="connsiteX51" fmla="*/ 7385 w 10000"/>
              <a:gd name="connsiteY51" fmla="*/ 874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385 w 10000"/>
              <a:gd name="connsiteY51" fmla="*/ 874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385 w 10000"/>
              <a:gd name="connsiteY51" fmla="*/ 874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385 w 10000"/>
              <a:gd name="connsiteY51" fmla="*/ 874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3 w 10000"/>
              <a:gd name="connsiteY51" fmla="*/ 596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3 w 10000"/>
              <a:gd name="connsiteY51" fmla="*/ 596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3 w 10000"/>
              <a:gd name="connsiteY51" fmla="*/ 5963 h 10000"/>
              <a:gd name="connsiteX52" fmla="*/ 8174 w 10000"/>
              <a:gd name="connsiteY52" fmla="*/ 8699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3 w 10000"/>
              <a:gd name="connsiteY51" fmla="*/ 5963 h 10000"/>
              <a:gd name="connsiteX52" fmla="*/ 8179 w 10000"/>
              <a:gd name="connsiteY52" fmla="*/ 6028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8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39 w 10000"/>
              <a:gd name="connsiteY53" fmla="*/ 4619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19 w 10000"/>
              <a:gd name="connsiteY54" fmla="*/ 4974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616 w 10000"/>
              <a:gd name="connsiteY55" fmla="*/ 4661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58 w 10000"/>
              <a:gd name="connsiteY56" fmla="*/ 5154 h 10000"/>
              <a:gd name="connsiteX57" fmla="*/ 8699 w 10000"/>
              <a:gd name="connsiteY57" fmla="*/ 7263 h 10000"/>
              <a:gd name="connsiteX58" fmla="*/ 8783 w 10000"/>
              <a:gd name="connsiteY58" fmla="*/ 6364 h 10000"/>
              <a:gd name="connsiteX59" fmla="*/ 8879 w 10000"/>
              <a:gd name="connsiteY59" fmla="*/ 7801 h 10000"/>
              <a:gd name="connsiteX60" fmla="*/ 8935 w 10000"/>
              <a:gd name="connsiteY60" fmla="*/ 7891 h 10000"/>
              <a:gd name="connsiteX61" fmla="*/ 8975 w 10000"/>
              <a:gd name="connsiteY61" fmla="*/ 7801 h 10000"/>
              <a:gd name="connsiteX62" fmla="*/ 8975 w 10000"/>
              <a:gd name="connsiteY62" fmla="*/ 7622 h 10000"/>
              <a:gd name="connsiteX63" fmla="*/ 9087 w 10000"/>
              <a:gd name="connsiteY63" fmla="*/ 7801 h 10000"/>
              <a:gd name="connsiteX64" fmla="*/ 9155 w 10000"/>
              <a:gd name="connsiteY64" fmla="*/ 7664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99 w 10000"/>
              <a:gd name="connsiteY56" fmla="*/ 7263 h 10000"/>
              <a:gd name="connsiteX57" fmla="*/ 8783 w 10000"/>
              <a:gd name="connsiteY57" fmla="*/ 6364 h 10000"/>
              <a:gd name="connsiteX58" fmla="*/ 8879 w 10000"/>
              <a:gd name="connsiteY58" fmla="*/ 7801 h 10000"/>
              <a:gd name="connsiteX59" fmla="*/ 8935 w 10000"/>
              <a:gd name="connsiteY59" fmla="*/ 7891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83 w 10000"/>
              <a:gd name="connsiteY57" fmla="*/ 6364 h 10000"/>
              <a:gd name="connsiteX58" fmla="*/ 8879 w 10000"/>
              <a:gd name="connsiteY58" fmla="*/ 7801 h 10000"/>
              <a:gd name="connsiteX59" fmla="*/ 8935 w 10000"/>
              <a:gd name="connsiteY59" fmla="*/ 7891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83 w 10000"/>
              <a:gd name="connsiteY57" fmla="*/ 6364 h 10000"/>
              <a:gd name="connsiteX58" fmla="*/ 8879 w 10000"/>
              <a:gd name="connsiteY58" fmla="*/ 7801 h 10000"/>
              <a:gd name="connsiteX59" fmla="*/ 8935 w 10000"/>
              <a:gd name="connsiteY59" fmla="*/ 7891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79 w 10000"/>
              <a:gd name="connsiteY58" fmla="*/ 7801 h 10000"/>
              <a:gd name="connsiteX59" fmla="*/ 8935 w 10000"/>
              <a:gd name="connsiteY59" fmla="*/ 7891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935 w 10000"/>
              <a:gd name="connsiteY59" fmla="*/ 7891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75 w 10000"/>
              <a:gd name="connsiteY60" fmla="*/ 7801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10 w 10000"/>
              <a:gd name="connsiteY60" fmla="*/ 7935 h 10000"/>
              <a:gd name="connsiteX61" fmla="*/ 8975 w 10000"/>
              <a:gd name="connsiteY61" fmla="*/ 7622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10 w 10000"/>
              <a:gd name="connsiteY60" fmla="*/ 7935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17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87 w 10000"/>
              <a:gd name="connsiteY62" fmla="*/ 7801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9003 w 10000"/>
              <a:gd name="connsiteY61" fmla="*/ 7907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55 w 10000"/>
              <a:gd name="connsiteY63" fmla="*/ 7664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4 w 10000"/>
              <a:gd name="connsiteY64" fmla="*/ 7310 h 10000"/>
              <a:gd name="connsiteX65" fmla="*/ 9226 w 10000"/>
              <a:gd name="connsiteY65" fmla="*/ 7664 h 10000"/>
              <a:gd name="connsiteX66" fmla="*/ 9294 w 10000"/>
              <a:gd name="connsiteY66" fmla="*/ 7490 h 10000"/>
              <a:gd name="connsiteX67" fmla="*/ 9405 w 10000"/>
              <a:gd name="connsiteY67" fmla="*/ 7532 h 10000"/>
              <a:gd name="connsiteX68" fmla="*/ 9433 w 10000"/>
              <a:gd name="connsiteY68" fmla="*/ 7754 h 10000"/>
              <a:gd name="connsiteX69" fmla="*/ 9474 w 10000"/>
              <a:gd name="connsiteY69" fmla="*/ 7801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46 w 10000"/>
              <a:gd name="connsiteY64" fmla="*/ 7635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184 w 10000"/>
              <a:gd name="connsiteY65" fmla="*/ 7310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62 w 10000"/>
              <a:gd name="connsiteY65" fmla="*/ 7055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26 w 10000"/>
              <a:gd name="connsiteY66" fmla="*/ 766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294 w 10000"/>
              <a:gd name="connsiteY67" fmla="*/ 7490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74 w 10000"/>
              <a:gd name="connsiteY70" fmla="*/ 7801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05 w 10000"/>
              <a:gd name="connsiteY68" fmla="*/ 7532 h 10000"/>
              <a:gd name="connsiteX69" fmla="*/ 9433 w 10000"/>
              <a:gd name="connsiteY69" fmla="*/ 7754 h 10000"/>
              <a:gd name="connsiteX70" fmla="*/ 9493 w 10000"/>
              <a:gd name="connsiteY70" fmla="*/ 7948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05 w 10000"/>
              <a:gd name="connsiteY68" fmla="*/ 7532 h 10000"/>
              <a:gd name="connsiteX69" fmla="*/ 9439 w 10000"/>
              <a:gd name="connsiteY69" fmla="*/ 7829 h 10000"/>
              <a:gd name="connsiteX70" fmla="*/ 9493 w 10000"/>
              <a:gd name="connsiteY70" fmla="*/ 7948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370 w 10000"/>
              <a:gd name="connsiteY68" fmla="*/ 7930 h 10000"/>
              <a:gd name="connsiteX69" fmla="*/ 9439 w 10000"/>
              <a:gd name="connsiteY69" fmla="*/ 7829 h 10000"/>
              <a:gd name="connsiteX70" fmla="*/ 9493 w 10000"/>
              <a:gd name="connsiteY70" fmla="*/ 7948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370 w 10000"/>
              <a:gd name="connsiteY68" fmla="*/ 7930 h 10000"/>
              <a:gd name="connsiteX69" fmla="*/ 9433 w 10000"/>
              <a:gd name="connsiteY69" fmla="*/ 7687 h 10000"/>
              <a:gd name="connsiteX70" fmla="*/ 9493 w 10000"/>
              <a:gd name="connsiteY70" fmla="*/ 7948 h 10000"/>
              <a:gd name="connsiteX71" fmla="*/ 9515 w 10000"/>
              <a:gd name="connsiteY71" fmla="*/ 7664 h 10000"/>
              <a:gd name="connsiteX72" fmla="*/ 9572 w 10000"/>
              <a:gd name="connsiteY72" fmla="*/ 7754 h 10000"/>
              <a:gd name="connsiteX73" fmla="*/ 9627 w 10000"/>
              <a:gd name="connsiteY73" fmla="*/ 7220 h 10000"/>
              <a:gd name="connsiteX74" fmla="*/ 9711 w 10000"/>
              <a:gd name="connsiteY74" fmla="*/ 7801 h 10000"/>
              <a:gd name="connsiteX75" fmla="*/ 9820 w 10000"/>
              <a:gd name="connsiteY75" fmla="*/ 7442 h 10000"/>
              <a:gd name="connsiteX76" fmla="*/ 9848 w 10000"/>
              <a:gd name="connsiteY76" fmla="*/ 7220 h 10000"/>
              <a:gd name="connsiteX77" fmla="*/ 9916 w 10000"/>
              <a:gd name="connsiteY77" fmla="*/ 7442 h 10000"/>
              <a:gd name="connsiteX78" fmla="*/ 10000 w 10000"/>
              <a:gd name="connsiteY78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15 w 10000"/>
              <a:gd name="connsiteY70" fmla="*/ 7664 h 10000"/>
              <a:gd name="connsiteX71" fmla="*/ 9572 w 10000"/>
              <a:gd name="connsiteY71" fmla="*/ 7754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15 w 10000"/>
              <a:gd name="connsiteY70" fmla="*/ 7664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27 w 10000"/>
              <a:gd name="connsiteY70" fmla="*/ 7710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11 w 10000"/>
              <a:gd name="connsiteY73" fmla="*/ 7801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27 w 10000"/>
              <a:gd name="connsiteY70" fmla="*/ 7710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33 w 10000"/>
              <a:gd name="connsiteY73" fmla="*/ 7889 h 10000"/>
              <a:gd name="connsiteX74" fmla="*/ 9820 w 10000"/>
              <a:gd name="connsiteY74" fmla="*/ 7442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27 w 10000"/>
              <a:gd name="connsiteY70" fmla="*/ 7710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33 w 10000"/>
              <a:gd name="connsiteY73" fmla="*/ 7889 h 10000"/>
              <a:gd name="connsiteX74" fmla="*/ 9846 w 10000"/>
              <a:gd name="connsiteY74" fmla="*/ 7547 h 10000"/>
              <a:gd name="connsiteX75" fmla="*/ 9848 w 10000"/>
              <a:gd name="connsiteY75" fmla="*/ 722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27 w 10000"/>
              <a:gd name="connsiteY70" fmla="*/ 7710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33 w 10000"/>
              <a:gd name="connsiteY73" fmla="*/ 7889 h 10000"/>
              <a:gd name="connsiteX74" fmla="*/ 9846 w 10000"/>
              <a:gd name="connsiteY74" fmla="*/ 7547 h 10000"/>
              <a:gd name="connsiteX75" fmla="*/ 9848 w 10000"/>
              <a:gd name="connsiteY75" fmla="*/ 7270 h 10000"/>
              <a:gd name="connsiteX76" fmla="*/ 9916 w 10000"/>
              <a:gd name="connsiteY76" fmla="*/ 7442 h 10000"/>
              <a:gd name="connsiteX77" fmla="*/ 10000 w 10000"/>
              <a:gd name="connsiteY77" fmla="*/ 7352 h 10000"/>
              <a:gd name="connsiteX0" fmla="*/ 0 w 10000"/>
              <a:gd name="connsiteY0" fmla="*/ 10000 h 10000"/>
              <a:gd name="connsiteX1" fmla="*/ 452 w 10000"/>
              <a:gd name="connsiteY1" fmla="*/ 2095 h 10000"/>
              <a:gd name="connsiteX2" fmla="*/ 563 w 10000"/>
              <a:gd name="connsiteY2" fmla="*/ 1972 h 10000"/>
              <a:gd name="connsiteX3" fmla="*/ 632 w 10000"/>
              <a:gd name="connsiteY3" fmla="*/ 1612 h 10000"/>
              <a:gd name="connsiteX4" fmla="*/ 702 w 10000"/>
              <a:gd name="connsiteY4" fmla="*/ 1612 h 10000"/>
              <a:gd name="connsiteX5" fmla="*/ 746 w 10000"/>
              <a:gd name="connsiteY5" fmla="*/ 2515 h 10000"/>
              <a:gd name="connsiteX6" fmla="*/ 840 w 10000"/>
              <a:gd name="connsiteY6" fmla="*/ 1570 h 10000"/>
              <a:gd name="connsiteX7" fmla="*/ 948 w 10000"/>
              <a:gd name="connsiteY7" fmla="*/ 2515 h 10000"/>
              <a:gd name="connsiteX8" fmla="*/ 1007 w 10000"/>
              <a:gd name="connsiteY8" fmla="*/ 1570 h 10000"/>
              <a:gd name="connsiteX9" fmla="*/ 1062 w 10000"/>
              <a:gd name="connsiteY9" fmla="*/ 1839 h 10000"/>
              <a:gd name="connsiteX10" fmla="*/ 1103 w 10000"/>
              <a:gd name="connsiteY10" fmla="*/ 1480 h 10000"/>
              <a:gd name="connsiteX11" fmla="*/ 1152 w 10000"/>
              <a:gd name="connsiteY11" fmla="*/ 2564 h 10000"/>
              <a:gd name="connsiteX12" fmla="*/ 1228 w 10000"/>
              <a:gd name="connsiteY12" fmla="*/ 1301 h 10000"/>
              <a:gd name="connsiteX13" fmla="*/ 1232 w 10000"/>
              <a:gd name="connsiteY13" fmla="*/ 2308 h 10000"/>
              <a:gd name="connsiteX14" fmla="*/ 1294 w 10000"/>
              <a:gd name="connsiteY14" fmla="*/ 2661 h 10000"/>
              <a:gd name="connsiteX15" fmla="*/ 1342 w 10000"/>
              <a:gd name="connsiteY15" fmla="*/ 2446 h 10000"/>
              <a:gd name="connsiteX16" fmla="*/ 1367 w 10000"/>
              <a:gd name="connsiteY16" fmla="*/ 1750 h 10000"/>
              <a:gd name="connsiteX17" fmla="*/ 1460 w 10000"/>
              <a:gd name="connsiteY17" fmla="*/ 2661 h 10000"/>
              <a:gd name="connsiteX18" fmla="*/ 1537 w 10000"/>
              <a:gd name="connsiteY18" fmla="*/ 2291 h 10000"/>
              <a:gd name="connsiteX19" fmla="*/ 1575 w 10000"/>
              <a:gd name="connsiteY19" fmla="*/ 1121 h 10000"/>
              <a:gd name="connsiteX20" fmla="*/ 1601 w 10000"/>
              <a:gd name="connsiteY20" fmla="*/ 2426 h 10000"/>
              <a:gd name="connsiteX21" fmla="*/ 1629 w 10000"/>
              <a:gd name="connsiteY21" fmla="*/ 2109 h 10000"/>
              <a:gd name="connsiteX22" fmla="*/ 1640 w 10000"/>
              <a:gd name="connsiteY22" fmla="*/ 2333 h 10000"/>
              <a:gd name="connsiteX23" fmla="*/ 1699 w 10000"/>
              <a:gd name="connsiteY23" fmla="*/ 1792 h 10000"/>
              <a:gd name="connsiteX24" fmla="*/ 1796 w 10000"/>
              <a:gd name="connsiteY24" fmla="*/ 2373 h 10000"/>
              <a:gd name="connsiteX25" fmla="*/ 1791 w 10000"/>
              <a:gd name="connsiteY25" fmla="*/ 2920 h 10000"/>
              <a:gd name="connsiteX26" fmla="*/ 1854 w 10000"/>
              <a:gd name="connsiteY26" fmla="*/ 3268 h 10000"/>
              <a:gd name="connsiteX27" fmla="*/ 1892 w 10000"/>
              <a:gd name="connsiteY27" fmla="*/ 2690 h 10000"/>
              <a:gd name="connsiteX28" fmla="*/ 1940 w 10000"/>
              <a:gd name="connsiteY28" fmla="*/ 3319 h 10000"/>
              <a:gd name="connsiteX29" fmla="*/ 2031 w 10000"/>
              <a:gd name="connsiteY29" fmla="*/ 1480 h 10000"/>
              <a:gd name="connsiteX30" fmla="*/ 2097 w 10000"/>
              <a:gd name="connsiteY30" fmla="*/ 3547 h 10000"/>
              <a:gd name="connsiteX31" fmla="*/ 2224 w 10000"/>
              <a:gd name="connsiteY31" fmla="*/ 2510 h 10000"/>
              <a:gd name="connsiteX32" fmla="*/ 2237 w 10000"/>
              <a:gd name="connsiteY32" fmla="*/ 1972 h 10000"/>
              <a:gd name="connsiteX33" fmla="*/ 2316 w 10000"/>
              <a:gd name="connsiteY33" fmla="*/ 2750 h 10000"/>
              <a:gd name="connsiteX34" fmla="*/ 2376 w 10000"/>
              <a:gd name="connsiteY34" fmla="*/ 2241 h 10000"/>
              <a:gd name="connsiteX35" fmla="*/ 2431 w 10000"/>
              <a:gd name="connsiteY35" fmla="*/ 2151 h 10000"/>
              <a:gd name="connsiteX36" fmla="*/ 2529 w 10000"/>
              <a:gd name="connsiteY36" fmla="*/ 1570 h 10000"/>
              <a:gd name="connsiteX37" fmla="*/ 2686 w 10000"/>
              <a:gd name="connsiteY37" fmla="*/ 1495 h 10000"/>
              <a:gd name="connsiteX38" fmla="*/ 3124 w 10000"/>
              <a:gd name="connsiteY38" fmla="*/ 1791 h 10000"/>
              <a:gd name="connsiteX39" fmla="*/ 3227 w 10000"/>
              <a:gd name="connsiteY39" fmla="*/ 2820 h 10000"/>
              <a:gd name="connsiteX40" fmla="*/ 3590 w 10000"/>
              <a:gd name="connsiteY40" fmla="*/ 2500 h 10000"/>
              <a:gd name="connsiteX41" fmla="*/ 3685 w 10000"/>
              <a:gd name="connsiteY41" fmla="*/ 1432 h 10000"/>
              <a:gd name="connsiteX42" fmla="*/ 3779 w 10000"/>
              <a:gd name="connsiteY42" fmla="*/ 1054 h 10000"/>
              <a:gd name="connsiteX43" fmla="*/ 4299 w 10000"/>
              <a:gd name="connsiteY43" fmla="*/ 6680 h 10000"/>
              <a:gd name="connsiteX44" fmla="*/ 4577 w 10000"/>
              <a:gd name="connsiteY44" fmla="*/ 6680 h 10000"/>
              <a:gd name="connsiteX45" fmla="*/ 5237 w 10000"/>
              <a:gd name="connsiteY45" fmla="*/ 663 h 10000"/>
              <a:gd name="connsiteX46" fmla="*/ 5778 w 10000"/>
              <a:gd name="connsiteY46" fmla="*/ 1286 h 10000"/>
              <a:gd name="connsiteX47" fmla="*/ 5946 w 10000"/>
              <a:gd name="connsiteY47" fmla="*/ 0 h 10000"/>
              <a:gd name="connsiteX48" fmla="*/ 6493 w 10000"/>
              <a:gd name="connsiteY48" fmla="*/ 111 h 10000"/>
              <a:gd name="connsiteX49" fmla="*/ 6806 w 10000"/>
              <a:gd name="connsiteY49" fmla="*/ 42 h 10000"/>
              <a:gd name="connsiteX50" fmla="*/ 7003 w 10000"/>
              <a:gd name="connsiteY50" fmla="*/ 361 h 10000"/>
              <a:gd name="connsiteX51" fmla="*/ 7476 w 10000"/>
              <a:gd name="connsiteY51" fmla="*/ 6005 h 10000"/>
              <a:gd name="connsiteX52" fmla="*/ 8179 w 10000"/>
              <a:gd name="connsiteY52" fmla="*/ 6020 h 10000"/>
              <a:gd name="connsiteX53" fmla="*/ 8378 w 10000"/>
              <a:gd name="connsiteY53" fmla="*/ 4920 h 10000"/>
              <a:gd name="connsiteX54" fmla="*/ 8509 w 10000"/>
              <a:gd name="connsiteY54" fmla="*/ 5527 h 10000"/>
              <a:gd name="connsiteX55" fmla="*/ 8580 w 10000"/>
              <a:gd name="connsiteY55" fmla="*/ 5004 h 10000"/>
              <a:gd name="connsiteX56" fmla="*/ 8663 w 10000"/>
              <a:gd name="connsiteY56" fmla="*/ 7656 h 10000"/>
              <a:gd name="connsiteX57" fmla="*/ 8726 w 10000"/>
              <a:gd name="connsiteY57" fmla="*/ 6573 h 10000"/>
              <a:gd name="connsiteX58" fmla="*/ 8822 w 10000"/>
              <a:gd name="connsiteY58" fmla="*/ 7792 h 10000"/>
              <a:gd name="connsiteX59" fmla="*/ 8875 w 10000"/>
              <a:gd name="connsiteY59" fmla="*/ 7573 h 10000"/>
              <a:gd name="connsiteX60" fmla="*/ 8901 w 10000"/>
              <a:gd name="connsiteY60" fmla="*/ 7948 h 10000"/>
              <a:gd name="connsiteX61" fmla="*/ 8998 w 10000"/>
              <a:gd name="connsiteY61" fmla="*/ 7961 h 10000"/>
              <a:gd name="connsiteX62" fmla="*/ 9004 w 10000"/>
              <a:gd name="connsiteY62" fmla="*/ 7688 h 10000"/>
              <a:gd name="connsiteX63" fmla="*/ 9117 w 10000"/>
              <a:gd name="connsiteY63" fmla="*/ 7907 h 10000"/>
              <a:gd name="connsiteX64" fmla="*/ 9180 w 10000"/>
              <a:gd name="connsiteY64" fmla="*/ 7811 h 10000"/>
              <a:gd name="connsiteX65" fmla="*/ 9205 w 10000"/>
              <a:gd name="connsiteY65" fmla="*/ 7352 h 10000"/>
              <a:gd name="connsiteX66" fmla="*/ 9240 w 10000"/>
              <a:gd name="connsiteY66" fmla="*/ 7794 h 10000"/>
              <a:gd name="connsiteX67" fmla="*/ 9319 w 10000"/>
              <a:gd name="connsiteY67" fmla="*/ 7565 h 10000"/>
              <a:gd name="connsiteX68" fmla="*/ 9433 w 10000"/>
              <a:gd name="connsiteY68" fmla="*/ 7687 h 10000"/>
              <a:gd name="connsiteX69" fmla="*/ 9493 w 10000"/>
              <a:gd name="connsiteY69" fmla="*/ 7948 h 10000"/>
              <a:gd name="connsiteX70" fmla="*/ 9527 w 10000"/>
              <a:gd name="connsiteY70" fmla="*/ 7710 h 10000"/>
              <a:gd name="connsiteX71" fmla="*/ 9586 w 10000"/>
              <a:gd name="connsiteY71" fmla="*/ 7913 h 10000"/>
              <a:gd name="connsiteX72" fmla="*/ 9627 w 10000"/>
              <a:gd name="connsiteY72" fmla="*/ 7220 h 10000"/>
              <a:gd name="connsiteX73" fmla="*/ 9733 w 10000"/>
              <a:gd name="connsiteY73" fmla="*/ 7889 h 10000"/>
              <a:gd name="connsiteX74" fmla="*/ 9846 w 10000"/>
              <a:gd name="connsiteY74" fmla="*/ 7547 h 10000"/>
              <a:gd name="connsiteX75" fmla="*/ 9848 w 10000"/>
              <a:gd name="connsiteY75" fmla="*/ 7270 h 10000"/>
              <a:gd name="connsiteX76" fmla="*/ 9934 w 10000"/>
              <a:gd name="connsiteY76" fmla="*/ 7580 h 10000"/>
              <a:gd name="connsiteX77" fmla="*/ 10000 w 10000"/>
              <a:gd name="connsiteY77" fmla="*/ 7352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63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63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63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63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63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80 w 10012"/>
              <a:gd name="connsiteY55" fmla="*/ 5004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262 w 10012"/>
              <a:gd name="connsiteY46" fmla="*/ 724 h 10000"/>
              <a:gd name="connsiteX47" fmla="*/ 5778 w 10012"/>
              <a:gd name="connsiteY47" fmla="*/ 1286 h 10000"/>
              <a:gd name="connsiteX48" fmla="*/ 5946 w 10012"/>
              <a:gd name="connsiteY48" fmla="*/ 0 h 10000"/>
              <a:gd name="connsiteX49" fmla="*/ 6493 w 10012"/>
              <a:gd name="connsiteY49" fmla="*/ 111 h 10000"/>
              <a:gd name="connsiteX50" fmla="*/ 6806 w 10012"/>
              <a:gd name="connsiteY50" fmla="*/ 42 h 10000"/>
              <a:gd name="connsiteX51" fmla="*/ 7003 w 10012"/>
              <a:gd name="connsiteY51" fmla="*/ 361 h 10000"/>
              <a:gd name="connsiteX52" fmla="*/ 7476 w 10012"/>
              <a:gd name="connsiteY52" fmla="*/ 6005 h 10000"/>
              <a:gd name="connsiteX53" fmla="*/ 8179 w 10012"/>
              <a:gd name="connsiteY53" fmla="*/ 6020 h 10000"/>
              <a:gd name="connsiteX54" fmla="*/ 8378 w 10012"/>
              <a:gd name="connsiteY54" fmla="*/ 4920 h 10000"/>
              <a:gd name="connsiteX55" fmla="*/ 8509 w 10012"/>
              <a:gd name="connsiteY55" fmla="*/ 5527 h 10000"/>
              <a:gd name="connsiteX56" fmla="*/ 8594 w 10012"/>
              <a:gd name="connsiteY56" fmla="*/ 4983 h 10000"/>
              <a:gd name="connsiteX57" fmla="*/ 8659 w 10012"/>
              <a:gd name="connsiteY57" fmla="*/ 7656 h 10000"/>
              <a:gd name="connsiteX58" fmla="*/ 8726 w 10012"/>
              <a:gd name="connsiteY58" fmla="*/ 6573 h 10000"/>
              <a:gd name="connsiteX59" fmla="*/ 8822 w 10012"/>
              <a:gd name="connsiteY59" fmla="*/ 7792 h 10000"/>
              <a:gd name="connsiteX60" fmla="*/ 8875 w 10012"/>
              <a:gd name="connsiteY60" fmla="*/ 7573 h 10000"/>
              <a:gd name="connsiteX61" fmla="*/ 8901 w 10012"/>
              <a:gd name="connsiteY61" fmla="*/ 7948 h 10000"/>
              <a:gd name="connsiteX62" fmla="*/ 8998 w 10012"/>
              <a:gd name="connsiteY62" fmla="*/ 7961 h 10000"/>
              <a:gd name="connsiteX63" fmla="*/ 9004 w 10012"/>
              <a:gd name="connsiteY63" fmla="*/ 7688 h 10000"/>
              <a:gd name="connsiteX64" fmla="*/ 9117 w 10012"/>
              <a:gd name="connsiteY64" fmla="*/ 7907 h 10000"/>
              <a:gd name="connsiteX65" fmla="*/ 9180 w 10012"/>
              <a:gd name="connsiteY65" fmla="*/ 7811 h 10000"/>
              <a:gd name="connsiteX66" fmla="*/ 9205 w 10012"/>
              <a:gd name="connsiteY66" fmla="*/ 7352 h 10000"/>
              <a:gd name="connsiteX67" fmla="*/ 9240 w 10012"/>
              <a:gd name="connsiteY67" fmla="*/ 7794 h 10000"/>
              <a:gd name="connsiteX68" fmla="*/ 9319 w 10012"/>
              <a:gd name="connsiteY68" fmla="*/ 7565 h 10000"/>
              <a:gd name="connsiteX69" fmla="*/ 9433 w 10012"/>
              <a:gd name="connsiteY69" fmla="*/ 7687 h 10000"/>
              <a:gd name="connsiteX70" fmla="*/ 9493 w 10012"/>
              <a:gd name="connsiteY70" fmla="*/ 7948 h 10000"/>
              <a:gd name="connsiteX71" fmla="*/ 9527 w 10012"/>
              <a:gd name="connsiteY71" fmla="*/ 7710 h 10000"/>
              <a:gd name="connsiteX72" fmla="*/ 9586 w 10012"/>
              <a:gd name="connsiteY72" fmla="*/ 7913 h 10000"/>
              <a:gd name="connsiteX73" fmla="*/ 9627 w 10012"/>
              <a:gd name="connsiteY73" fmla="*/ 7220 h 10000"/>
              <a:gd name="connsiteX74" fmla="*/ 9733 w 10012"/>
              <a:gd name="connsiteY74" fmla="*/ 7889 h 10000"/>
              <a:gd name="connsiteX75" fmla="*/ 9846 w 10012"/>
              <a:gd name="connsiteY75" fmla="*/ 7547 h 10000"/>
              <a:gd name="connsiteX76" fmla="*/ 9848 w 10012"/>
              <a:gd name="connsiteY76" fmla="*/ 7270 h 10000"/>
              <a:gd name="connsiteX77" fmla="*/ 9934 w 10012"/>
              <a:gd name="connsiteY77" fmla="*/ 7580 h 10000"/>
              <a:gd name="connsiteX78" fmla="*/ 10012 w 10012"/>
              <a:gd name="connsiteY78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37 w 10012"/>
              <a:gd name="connsiteY45" fmla="*/ 663 h 10000"/>
              <a:gd name="connsiteX46" fmla="*/ 5262 w 10012"/>
              <a:gd name="connsiteY46" fmla="*/ 745 h 10000"/>
              <a:gd name="connsiteX47" fmla="*/ 5778 w 10012"/>
              <a:gd name="connsiteY47" fmla="*/ 1286 h 10000"/>
              <a:gd name="connsiteX48" fmla="*/ 5946 w 10012"/>
              <a:gd name="connsiteY48" fmla="*/ 0 h 10000"/>
              <a:gd name="connsiteX49" fmla="*/ 6493 w 10012"/>
              <a:gd name="connsiteY49" fmla="*/ 111 h 10000"/>
              <a:gd name="connsiteX50" fmla="*/ 6806 w 10012"/>
              <a:gd name="connsiteY50" fmla="*/ 42 h 10000"/>
              <a:gd name="connsiteX51" fmla="*/ 7003 w 10012"/>
              <a:gd name="connsiteY51" fmla="*/ 361 h 10000"/>
              <a:gd name="connsiteX52" fmla="*/ 7476 w 10012"/>
              <a:gd name="connsiteY52" fmla="*/ 6005 h 10000"/>
              <a:gd name="connsiteX53" fmla="*/ 8179 w 10012"/>
              <a:gd name="connsiteY53" fmla="*/ 6020 h 10000"/>
              <a:gd name="connsiteX54" fmla="*/ 8378 w 10012"/>
              <a:gd name="connsiteY54" fmla="*/ 4920 h 10000"/>
              <a:gd name="connsiteX55" fmla="*/ 8509 w 10012"/>
              <a:gd name="connsiteY55" fmla="*/ 5527 h 10000"/>
              <a:gd name="connsiteX56" fmla="*/ 8594 w 10012"/>
              <a:gd name="connsiteY56" fmla="*/ 4983 h 10000"/>
              <a:gd name="connsiteX57" fmla="*/ 8659 w 10012"/>
              <a:gd name="connsiteY57" fmla="*/ 7656 h 10000"/>
              <a:gd name="connsiteX58" fmla="*/ 8726 w 10012"/>
              <a:gd name="connsiteY58" fmla="*/ 6573 h 10000"/>
              <a:gd name="connsiteX59" fmla="*/ 8822 w 10012"/>
              <a:gd name="connsiteY59" fmla="*/ 7792 h 10000"/>
              <a:gd name="connsiteX60" fmla="*/ 8875 w 10012"/>
              <a:gd name="connsiteY60" fmla="*/ 7573 h 10000"/>
              <a:gd name="connsiteX61" fmla="*/ 8901 w 10012"/>
              <a:gd name="connsiteY61" fmla="*/ 7948 h 10000"/>
              <a:gd name="connsiteX62" fmla="*/ 8998 w 10012"/>
              <a:gd name="connsiteY62" fmla="*/ 7961 h 10000"/>
              <a:gd name="connsiteX63" fmla="*/ 9004 w 10012"/>
              <a:gd name="connsiteY63" fmla="*/ 7688 h 10000"/>
              <a:gd name="connsiteX64" fmla="*/ 9117 w 10012"/>
              <a:gd name="connsiteY64" fmla="*/ 7907 h 10000"/>
              <a:gd name="connsiteX65" fmla="*/ 9180 w 10012"/>
              <a:gd name="connsiteY65" fmla="*/ 7811 h 10000"/>
              <a:gd name="connsiteX66" fmla="*/ 9205 w 10012"/>
              <a:gd name="connsiteY66" fmla="*/ 7352 h 10000"/>
              <a:gd name="connsiteX67" fmla="*/ 9240 w 10012"/>
              <a:gd name="connsiteY67" fmla="*/ 7794 h 10000"/>
              <a:gd name="connsiteX68" fmla="*/ 9319 w 10012"/>
              <a:gd name="connsiteY68" fmla="*/ 7565 h 10000"/>
              <a:gd name="connsiteX69" fmla="*/ 9433 w 10012"/>
              <a:gd name="connsiteY69" fmla="*/ 7687 h 10000"/>
              <a:gd name="connsiteX70" fmla="*/ 9493 w 10012"/>
              <a:gd name="connsiteY70" fmla="*/ 7948 h 10000"/>
              <a:gd name="connsiteX71" fmla="*/ 9527 w 10012"/>
              <a:gd name="connsiteY71" fmla="*/ 7710 h 10000"/>
              <a:gd name="connsiteX72" fmla="*/ 9586 w 10012"/>
              <a:gd name="connsiteY72" fmla="*/ 7913 h 10000"/>
              <a:gd name="connsiteX73" fmla="*/ 9627 w 10012"/>
              <a:gd name="connsiteY73" fmla="*/ 7220 h 10000"/>
              <a:gd name="connsiteX74" fmla="*/ 9733 w 10012"/>
              <a:gd name="connsiteY74" fmla="*/ 7889 h 10000"/>
              <a:gd name="connsiteX75" fmla="*/ 9846 w 10012"/>
              <a:gd name="connsiteY75" fmla="*/ 7547 h 10000"/>
              <a:gd name="connsiteX76" fmla="*/ 9848 w 10012"/>
              <a:gd name="connsiteY76" fmla="*/ 7270 h 10000"/>
              <a:gd name="connsiteX77" fmla="*/ 9934 w 10012"/>
              <a:gd name="connsiteY77" fmla="*/ 7580 h 10000"/>
              <a:gd name="connsiteX78" fmla="*/ 10012 w 10012"/>
              <a:gd name="connsiteY78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299 w 10012"/>
              <a:gd name="connsiteY43" fmla="*/ 6680 h 10000"/>
              <a:gd name="connsiteX44" fmla="*/ 4577 w 10012"/>
              <a:gd name="connsiteY44" fmla="*/ 6680 h 10000"/>
              <a:gd name="connsiteX45" fmla="*/ 5263 w 10012"/>
              <a:gd name="connsiteY45" fmla="*/ 766 h 10000"/>
              <a:gd name="connsiteX46" fmla="*/ 5262 w 10012"/>
              <a:gd name="connsiteY46" fmla="*/ 745 h 10000"/>
              <a:gd name="connsiteX47" fmla="*/ 5778 w 10012"/>
              <a:gd name="connsiteY47" fmla="*/ 1286 h 10000"/>
              <a:gd name="connsiteX48" fmla="*/ 5946 w 10012"/>
              <a:gd name="connsiteY48" fmla="*/ 0 h 10000"/>
              <a:gd name="connsiteX49" fmla="*/ 6493 w 10012"/>
              <a:gd name="connsiteY49" fmla="*/ 111 h 10000"/>
              <a:gd name="connsiteX50" fmla="*/ 6806 w 10012"/>
              <a:gd name="connsiteY50" fmla="*/ 42 h 10000"/>
              <a:gd name="connsiteX51" fmla="*/ 7003 w 10012"/>
              <a:gd name="connsiteY51" fmla="*/ 361 h 10000"/>
              <a:gd name="connsiteX52" fmla="*/ 7476 w 10012"/>
              <a:gd name="connsiteY52" fmla="*/ 6005 h 10000"/>
              <a:gd name="connsiteX53" fmla="*/ 8179 w 10012"/>
              <a:gd name="connsiteY53" fmla="*/ 6020 h 10000"/>
              <a:gd name="connsiteX54" fmla="*/ 8378 w 10012"/>
              <a:gd name="connsiteY54" fmla="*/ 4920 h 10000"/>
              <a:gd name="connsiteX55" fmla="*/ 8509 w 10012"/>
              <a:gd name="connsiteY55" fmla="*/ 5527 h 10000"/>
              <a:gd name="connsiteX56" fmla="*/ 8594 w 10012"/>
              <a:gd name="connsiteY56" fmla="*/ 4983 h 10000"/>
              <a:gd name="connsiteX57" fmla="*/ 8659 w 10012"/>
              <a:gd name="connsiteY57" fmla="*/ 7656 h 10000"/>
              <a:gd name="connsiteX58" fmla="*/ 8726 w 10012"/>
              <a:gd name="connsiteY58" fmla="*/ 6573 h 10000"/>
              <a:gd name="connsiteX59" fmla="*/ 8822 w 10012"/>
              <a:gd name="connsiteY59" fmla="*/ 7792 h 10000"/>
              <a:gd name="connsiteX60" fmla="*/ 8875 w 10012"/>
              <a:gd name="connsiteY60" fmla="*/ 7573 h 10000"/>
              <a:gd name="connsiteX61" fmla="*/ 8901 w 10012"/>
              <a:gd name="connsiteY61" fmla="*/ 7948 h 10000"/>
              <a:gd name="connsiteX62" fmla="*/ 8998 w 10012"/>
              <a:gd name="connsiteY62" fmla="*/ 7961 h 10000"/>
              <a:gd name="connsiteX63" fmla="*/ 9004 w 10012"/>
              <a:gd name="connsiteY63" fmla="*/ 7688 h 10000"/>
              <a:gd name="connsiteX64" fmla="*/ 9117 w 10012"/>
              <a:gd name="connsiteY64" fmla="*/ 7907 h 10000"/>
              <a:gd name="connsiteX65" fmla="*/ 9180 w 10012"/>
              <a:gd name="connsiteY65" fmla="*/ 7811 h 10000"/>
              <a:gd name="connsiteX66" fmla="*/ 9205 w 10012"/>
              <a:gd name="connsiteY66" fmla="*/ 7352 h 10000"/>
              <a:gd name="connsiteX67" fmla="*/ 9240 w 10012"/>
              <a:gd name="connsiteY67" fmla="*/ 7794 h 10000"/>
              <a:gd name="connsiteX68" fmla="*/ 9319 w 10012"/>
              <a:gd name="connsiteY68" fmla="*/ 7565 h 10000"/>
              <a:gd name="connsiteX69" fmla="*/ 9433 w 10012"/>
              <a:gd name="connsiteY69" fmla="*/ 7687 h 10000"/>
              <a:gd name="connsiteX70" fmla="*/ 9493 w 10012"/>
              <a:gd name="connsiteY70" fmla="*/ 7948 h 10000"/>
              <a:gd name="connsiteX71" fmla="*/ 9527 w 10012"/>
              <a:gd name="connsiteY71" fmla="*/ 7710 h 10000"/>
              <a:gd name="connsiteX72" fmla="*/ 9586 w 10012"/>
              <a:gd name="connsiteY72" fmla="*/ 7913 h 10000"/>
              <a:gd name="connsiteX73" fmla="*/ 9627 w 10012"/>
              <a:gd name="connsiteY73" fmla="*/ 7220 h 10000"/>
              <a:gd name="connsiteX74" fmla="*/ 9733 w 10012"/>
              <a:gd name="connsiteY74" fmla="*/ 7889 h 10000"/>
              <a:gd name="connsiteX75" fmla="*/ 9846 w 10012"/>
              <a:gd name="connsiteY75" fmla="*/ 7547 h 10000"/>
              <a:gd name="connsiteX76" fmla="*/ 9848 w 10012"/>
              <a:gd name="connsiteY76" fmla="*/ 7270 h 10000"/>
              <a:gd name="connsiteX77" fmla="*/ 9934 w 10012"/>
              <a:gd name="connsiteY77" fmla="*/ 7580 h 10000"/>
              <a:gd name="connsiteX78" fmla="*/ 10012 w 10012"/>
              <a:gd name="connsiteY78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79 w 10012"/>
              <a:gd name="connsiteY42" fmla="*/ 1054 h 10000"/>
              <a:gd name="connsiteX43" fmla="*/ 4365 w 10012"/>
              <a:gd name="connsiteY43" fmla="*/ 6693 h 10000"/>
              <a:gd name="connsiteX44" fmla="*/ 4577 w 10012"/>
              <a:gd name="connsiteY44" fmla="*/ 6680 h 10000"/>
              <a:gd name="connsiteX45" fmla="*/ 5263 w 10012"/>
              <a:gd name="connsiteY45" fmla="*/ 766 h 10000"/>
              <a:gd name="connsiteX46" fmla="*/ 5262 w 10012"/>
              <a:gd name="connsiteY46" fmla="*/ 745 h 10000"/>
              <a:gd name="connsiteX47" fmla="*/ 5778 w 10012"/>
              <a:gd name="connsiteY47" fmla="*/ 1286 h 10000"/>
              <a:gd name="connsiteX48" fmla="*/ 5946 w 10012"/>
              <a:gd name="connsiteY48" fmla="*/ 0 h 10000"/>
              <a:gd name="connsiteX49" fmla="*/ 6493 w 10012"/>
              <a:gd name="connsiteY49" fmla="*/ 111 h 10000"/>
              <a:gd name="connsiteX50" fmla="*/ 6806 w 10012"/>
              <a:gd name="connsiteY50" fmla="*/ 42 h 10000"/>
              <a:gd name="connsiteX51" fmla="*/ 7003 w 10012"/>
              <a:gd name="connsiteY51" fmla="*/ 361 h 10000"/>
              <a:gd name="connsiteX52" fmla="*/ 7476 w 10012"/>
              <a:gd name="connsiteY52" fmla="*/ 6005 h 10000"/>
              <a:gd name="connsiteX53" fmla="*/ 8179 w 10012"/>
              <a:gd name="connsiteY53" fmla="*/ 6020 h 10000"/>
              <a:gd name="connsiteX54" fmla="*/ 8378 w 10012"/>
              <a:gd name="connsiteY54" fmla="*/ 4920 h 10000"/>
              <a:gd name="connsiteX55" fmla="*/ 8509 w 10012"/>
              <a:gd name="connsiteY55" fmla="*/ 5527 h 10000"/>
              <a:gd name="connsiteX56" fmla="*/ 8594 w 10012"/>
              <a:gd name="connsiteY56" fmla="*/ 4983 h 10000"/>
              <a:gd name="connsiteX57" fmla="*/ 8659 w 10012"/>
              <a:gd name="connsiteY57" fmla="*/ 7656 h 10000"/>
              <a:gd name="connsiteX58" fmla="*/ 8726 w 10012"/>
              <a:gd name="connsiteY58" fmla="*/ 6573 h 10000"/>
              <a:gd name="connsiteX59" fmla="*/ 8822 w 10012"/>
              <a:gd name="connsiteY59" fmla="*/ 7792 h 10000"/>
              <a:gd name="connsiteX60" fmla="*/ 8875 w 10012"/>
              <a:gd name="connsiteY60" fmla="*/ 7573 h 10000"/>
              <a:gd name="connsiteX61" fmla="*/ 8901 w 10012"/>
              <a:gd name="connsiteY61" fmla="*/ 7948 h 10000"/>
              <a:gd name="connsiteX62" fmla="*/ 8998 w 10012"/>
              <a:gd name="connsiteY62" fmla="*/ 7961 h 10000"/>
              <a:gd name="connsiteX63" fmla="*/ 9004 w 10012"/>
              <a:gd name="connsiteY63" fmla="*/ 7688 h 10000"/>
              <a:gd name="connsiteX64" fmla="*/ 9117 w 10012"/>
              <a:gd name="connsiteY64" fmla="*/ 7907 h 10000"/>
              <a:gd name="connsiteX65" fmla="*/ 9180 w 10012"/>
              <a:gd name="connsiteY65" fmla="*/ 7811 h 10000"/>
              <a:gd name="connsiteX66" fmla="*/ 9205 w 10012"/>
              <a:gd name="connsiteY66" fmla="*/ 7352 h 10000"/>
              <a:gd name="connsiteX67" fmla="*/ 9240 w 10012"/>
              <a:gd name="connsiteY67" fmla="*/ 7794 h 10000"/>
              <a:gd name="connsiteX68" fmla="*/ 9319 w 10012"/>
              <a:gd name="connsiteY68" fmla="*/ 7565 h 10000"/>
              <a:gd name="connsiteX69" fmla="*/ 9433 w 10012"/>
              <a:gd name="connsiteY69" fmla="*/ 7687 h 10000"/>
              <a:gd name="connsiteX70" fmla="*/ 9493 w 10012"/>
              <a:gd name="connsiteY70" fmla="*/ 7948 h 10000"/>
              <a:gd name="connsiteX71" fmla="*/ 9527 w 10012"/>
              <a:gd name="connsiteY71" fmla="*/ 7710 h 10000"/>
              <a:gd name="connsiteX72" fmla="*/ 9586 w 10012"/>
              <a:gd name="connsiteY72" fmla="*/ 7913 h 10000"/>
              <a:gd name="connsiteX73" fmla="*/ 9627 w 10012"/>
              <a:gd name="connsiteY73" fmla="*/ 7220 h 10000"/>
              <a:gd name="connsiteX74" fmla="*/ 9733 w 10012"/>
              <a:gd name="connsiteY74" fmla="*/ 7889 h 10000"/>
              <a:gd name="connsiteX75" fmla="*/ 9846 w 10012"/>
              <a:gd name="connsiteY75" fmla="*/ 7547 h 10000"/>
              <a:gd name="connsiteX76" fmla="*/ 9848 w 10012"/>
              <a:gd name="connsiteY76" fmla="*/ 7270 h 10000"/>
              <a:gd name="connsiteX77" fmla="*/ 9934 w 10012"/>
              <a:gd name="connsiteY77" fmla="*/ 7580 h 10000"/>
              <a:gd name="connsiteX78" fmla="*/ 10012 w 10012"/>
              <a:gd name="connsiteY78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632 w 10012"/>
              <a:gd name="connsiteY3" fmla="*/ 1612 h 10000"/>
              <a:gd name="connsiteX4" fmla="*/ 702 w 10012"/>
              <a:gd name="connsiteY4" fmla="*/ 1612 h 10000"/>
              <a:gd name="connsiteX5" fmla="*/ 746 w 10012"/>
              <a:gd name="connsiteY5" fmla="*/ 2515 h 10000"/>
              <a:gd name="connsiteX6" fmla="*/ 840 w 10012"/>
              <a:gd name="connsiteY6" fmla="*/ 1570 h 10000"/>
              <a:gd name="connsiteX7" fmla="*/ 948 w 10012"/>
              <a:gd name="connsiteY7" fmla="*/ 2515 h 10000"/>
              <a:gd name="connsiteX8" fmla="*/ 1007 w 10012"/>
              <a:gd name="connsiteY8" fmla="*/ 1570 h 10000"/>
              <a:gd name="connsiteX9" fmla="*/ 1062 w 10012"/>
              <a:gd name="connsiteY9" fmla="*/ 1839 h 10000"/>
              <a:gd name="connsiteX10" fmla="*/ 1103 w 10012"/>
              <a:gd name="connsiteY10" fmla="*/ 1480 h 10000"/>
              <a:gd name="connsiteX11" fmla="*/ 1152 w 10012"/>
              <a:gd name="connsiteY11" fmla="*/ 2564 h 10000"/>
              <a:gd name="connsiteX12" fmla="*/ 1228 w 10012"/>
              <a:gd name="connsiteY12" fmla="*/ 1301 h 10000"/>
              <a:gd name="connsiteX13" fmla="*/ 1232 w 10012"/>
              <a:gd name="connsiteY13" fmla="*/ 2308 h 10000"/>
              <a:gd name="connsiteX14" fmla="*/ 1294 w 10012"/>
              <a:gd name="connsiteY14" fmla="*/ 2661 h 10000"/>
              <a:gd name="connsiteX15" fmla="*/ 1342 w 10012"/>
              <a:gd name="connsiteY15" fmla="*/ 2446 h 10000"/>
              <a:gd name="connsiteX16" fmla="*/ 1367 w 10012"/>
              <a:gd name="connsiteY16" fmla="*/ 1750 h 10000"/>
              <a:gd name="connsiteX17" fmla="*/ 1460 w 10012"/>
              <a:gd name="connsiteY17" fmla="*/ 2661 h 10000"/>
              <a:gd name="connsiteX18" fmla="*/ 1537 w 10012"/>
              <a:gd name="connsiteY18" fmla="*/ 2291 h 10000"/>
              <a:gd name="connsiteX19" fmla="*/ 1575 w 10012"/>
              <a:gd name="connsiteY19" fmla="*/ 1121 h 10000"/>
              <a:gd name="connsiteX20" fmla="*/ 1601 w 10012"/>
              <a:gd name="connsiteY20" fmla="*/ 2426 h 10000"/>
              <a:gd name="connsiteX21" fmla="*/ 1629 w 10012"/>
              <a:gd name="connsiteY21" fmla="*/ 2109 h 10000"/>
              <a:gd name="connsiteX22" fmla="*/ 1640 w 10012"/>
              <a:gd name="connsiteY22" fmla="*/ 2333 h 10000"/>
              <a:gd name="connsiteX23" fmla="*/ 1699 w 10012"/>
              <a:gd name="connsiteY23" fmla="*/ 1792 h 10000"/>
              <a:gd name="connsiteX24" fmla="*/ 1796 w 10012"/>
              <a:gd name="connsiteY24" fmla="*/ 2373 h 10000"/>
              <a:gd name="connsiteX25" fmla="*/ 1791 w 10012"/>
              <a:gd name="connsiteY25" fmla="*/ 2920 h 10000"/>
              <a:gd name="connsiteX26" fmla="*/ 1854 w 10012"/>
              <a:gd name="connsiteY26" fmla="*/ 3268 h 10000"/>
              <a:gd name="connsiteX27" fmla="*/ 1892 w 10012"/>
              <a:gd name="connsiteY27" fmla="*/ 2690 h 10000"/>
              <a:gd name="connsiteX28" fmla="*/ 1940 w 10012"/>
              <a:gd name="connsiteY28" fmla="*/ 3319 h 10000"/>
              <a:gd name="connsiteX29" fmla="*/ 2031 w 10012"/>
              <a:gd name="connsiteY29" fmla="*/ 1480 h 10000"/>
              <a:gd name="connsiteX30" fmla="*/ 2097 w 10012"/>
              <a:gd name="connsiteY30" fmla="*/ 3547 h 10000"/>
              <a:gd name="connsiteX31" fmla="*/ 2224 w 10012"/>
              <a:gd name="connsiteY31" fmla="*/ 2510 h 10000"/>
              <a:gd name="connsiteX32" fmla="*/ 2237 w 10012"/>
              <a:gd name="connsiteY32" fmla="*/ 1972 h 10000"/>
              <a:gd name="connsiteX33" fmla="*/ 2316 w 10012"/>
              <a:gd name="connsiteY33" fmla="*/ 2750 h 10000"/>
              <a:gd name="connsiteX34" fmla="*/ 2376 w 10012"/>
              <a:gd name="connsiteY34" fmla="*/ 2241 h 10000"/>
              <a:gd name="connsiteX35" fmla="*/ 2431 w 10012"/>
              <a:gd name="connsiteY35" fmla="*/ 2151 h 10000"/>
              <a:gd name="connsiteX36" fmla="*/ 2529 w 10012"/>
              <a:gd name="connsiteY36" fmla="*/ 1570 h 10000"/>
              <a:gd name="connsiteX37" fmla="*/ 2686 w 10012"/>
              <a:gd name="connsiteY37" fmla="*/ 1495 h 10000"/>
              <a:gd name="connsiteX38" fmla="*/ 3124 w 10012"/>
              <a:gd name="connsiteY38" fmla="*/ 1791 h 10000"/>
              <a:gd name="connsiteX39" fmla="*/ 3227 w 10012"/>
              <a:gd name="connsiteY39" fmla="*/ 2820 h 10000"/>
              <a:gd name="connsiteX40" fmla="*/ 3590 w 10012"/>
              <a:gd name="connsiteY40" fmla="*/ 2500 h 10000"/>
              <a:gd name="connsiteX41" fmla="*/ 3685 w 10012"/>
              <a:gd name="connsiteY41" fmla="*/ 1432 h 10000"/>
              <a:gd name="connsiteX42" fmla="*/ 3754 w 10012"/>
              <a:gd name="connsiteY42" fmla="*/ 1148 h 10000"/>
              <a:gd name="connsiteX43" fmla="*/ 4365 w 10012"/>
              <a:gd name="connsiteY43" fmla="*/ 6693 h 10000"/>
              <a:gd name="connsiteX44" fmla="*/ 4577 w 10012"/>
              <a:gd name="connsiteY44" fmla="*/ 6680 h 10000"/>
              <a:gd name="connsiteX45" fmla="*/ 5263 w 10012"/>
              <a:gd name="connsiteY45" fmla="*/ 766 h 10000"/>
              <a:gd name="connsiteX46" fmla="*/ 5262 w 10012"/>
              <a:gd name="connsiteY46" fmla="*/ 745 h 10000"/>
              <a:gd name="connsiteX47" fmla="*/ 5778 w 10012"/>
              <a:gd name="connsiteY47" fmla="*/ 1286 h 10000"/>
              <a:gd name="connsiteX48" fmla="*/ 5946 w 10012"/>
              <a:gd name="connsiteY48" fmla="*/ 0 h 10000"/>
              <a:gd name="connsiteX49" fmla="*/ 6493 w 10012"/>
              <a:gd name="connsiteY49" fmla="*/ 111 h 10000"/>
              <a:gd name="connsiteX50" fmla="*/ 6806 w 10012"/>
              <a:gd name="connsiteY50" fmla="*/ 42 h 10000"/>
              <a:gd name="connsiteX51" fmla="*/ 7003 w 10012"/>
              <a:gd name="connsiteY51" fmla="*/ 361 h 10000"/>
              <a:gd name="connsiteX52" fmla="*/ 7476 w 10012"/>
              <a:gd name="connsiteY52" fmla="*/ 6005 h 10000"/>
              <a:gd name="connsiteX53" fmla="*/ 8179 w 10012"/>
              <a:gd name="connsiteY53" fmla="*/ 6020 h 10000"/>
              <a:gd name="connsiteX54" fmla="*/ 8378 w 10012"/>
              <a:gd name="connsiteY54" fmla="*/ 4920 h 10000"/>
              <a:gd name="connsiteX55" fmla="*/ 8509 w 10012"/>
              <a:gd name="connsiteY55" fmla="*/ 5527 h 10000"/>
              <a:gd name="connsiteX56" fmla="*/ 8594 w 10012"/>
              <a:gd name="connsiteY56" fmla="*/ 4983 h 10000"/>
              <a:gd name="connsiteX57" fmla="*/ 8659 w 10012"/>
              <a:gd name="connsiteY57" fmla="*/ 7656 h 10000"/>
              <a:gd name="connsiteX58" fmla="*/ 8726 w 10012"/>
              <a:gd name="connsiteY58" fmla="*/ 6573 h 10000"/>
              <a:gd name="connsiteX59" fmla="*/ 8822 w 10012"/>
              <a:gd name="connsiteY59" fmla="*/ 7792 h 10000"/>
              <a:gd name="connsiteX60" fmla="*/ 8875 w 10012"/>
              <a:gd name="connsiteY60" fmla="*/ 7573 h 10000"/>
              <a:gd name="connsiteX61" fmla="*/ 8901 w 10012"/>
              <a:gd name="connsiteY61" fmla="*/ 7948 h 10000"/>
              <a:gd name="connsiteX62" fmla="*/ 8998 w 10012"/>
              <a:gd name="connsiteY62" fmla="*/ 7961 h 10000"/>
              <a:gd name="connsiteX63" fmla="*/ 9004 w 10012"/>
              <a:gd name="connsiteY63" fmla="*/ 7688 h 10000"/>
              <a:gd name="connsiteX64" fmla="*/ 9117 w 10012"/>
              <a:gd name="connsiteY64" fmla="*/ 7907 h 10000"/>
              <a:gd name="connsiteX65" fmla="*/ 9180 w 10012"/>
              <a:gd name="connsiteY65" fmla="*/ 7811 h 10000"/>
              <a:gd name="connsiteX66" fmla="*/ 9205 w 10012"/>
              <a:gd name="connsiteY66" fmla="*/ 7352 h 10000"/>
              <a:gd name="connsiteX67" fmla="*/ 9240 w 10012"/>
              <a:gd name="connsiteY67" fmla="*/ 7794 h 10000"/>
              <a:gd name="connsiteX68" fmla="*/ 9319 w 10012"/>
              <a:gd name="connsiteY68" fmla="*/ 7565 h 10000"/>
              <a:gd name="connsiteX69" fmla="*/ 9433 w 10012"/>
              <a:gd name="connsiteY69" fmla="*/ 7687 h 10000"/>
              <a:gd name="connsiteX70" fmla="*/ 9493 w 10012"/>
              <a:gd name="connsiteY70" fmla="*/ 7948 h 10000"/>
              <a:gd name="connsiteX71" fmla="*/ 9527 w 10012"/>
              <a:gd name="connsiteY71" fmla="*/ 7710 h 10000"/>
              <a:gd name="connsiteX72" fmla="*/ 9586 w 10012"/>
              <a:gd name="connsiteY72" fmla="*/ 7913 h 10000"/>
              <a:gd name="connsiteX73" fmla="*/ 9627 w 10012"/>
              <a:gd name="connsiteY73" fmla="*/ 7220 h 10000"/>
              <a:gd name="connsiteX74" fmla="*/ 9733 w 10012"/>
              <a:gd name="connsiteY74" fmla="*/ 7889 h 10000"/>
              <a:gd name="connsiteX75" fmla="*/ 9846 w 10012"/>
              <a:gd name="connsiteY75" fmla="*/ 7547 h 10000"/>
              <a:gd name="connsiteX76" fmla="*/ 9848 w 10012"/>
              <a:gd name="connsiteY76" fmla="*/ 7270 h 10000"/>
              <a:gd name="connsiteX77" fmla="*/ 9934 w 10012"/>
              <a:gd name="connsiteY77" fmla="*/ 7580 h 10000"/>
              <a:gd name="connsiteX78" fmla="*/ 10012 w 10012"/>
              <a:gd name="connsiteY78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563 w 10012"/>
              <a:gd name="connsiteY2" fmla="*/ 1972 h 10000"/>
              <a:gd name="connsiteX3" fmla="*/ 702 w 10012"/>
              <a:gd name="connsiteY3" fmla="*/ 1612 h 10000"/>
              <a:gd name="connsiteX4" fmla="*/ 746 w 10012"/>
              <a:gd name="connsiteY4" fmla="*/ 2515 h 10000"/>
              <a:gd name="connsiteX5" fmla="*/ 840 w 10012"/>
              <a:gd name="connsiteY5" fmla="*/ 1570 h 10000"/>
              <a:gd name="connsiteX6" fmla="*/ 948 w 10012"/>
              <a:gd name="connsiteY6" fmla="*/ 2515 h 10000"/>
              <a:gd name="connsiteX7" fmla="*/ 1007 w 10012"/>
              <a:gd name="connsiteY7" fmla="*/ 1570 h 10000"/>
              <a:gd name="connsiteX8" fmla="*/ 1062 w 10012"/>
              <a:gd name="connsiteY8" fmla="*/ 1839 h 10000"/>
              <a:gd name="connsiteX9" fmla="*/ 1103 w 10012"/>
              <a:gd name="connsiteY9" fmla="*/ 1480 h 10000"/>
              <a:gd name="connsiteX10" fmla="*/ 1152 w 10012"/>
              <a:gd name="connsiteY10" fmla="*/ 2564 h 10000"/>
              <a:gd name="connsiteX11" fmla="*/ 1228 w 10012"/>
              <a:gd name="connsiteY11" fmla="*/ 1301 h 10000"/>
              <a:gd name="connsiteX12" fmla="*/ 1232 w 10012"/>
              <a:gd name="connsiteY12" fmla="*/ 2308 h 10000"/>
              <a:gd name="connsiteX13" fmla="*/ 1294 w 10012"/>
              <a:gd name="connsiteY13" fmla="*/ 2661 h 10000"/>
              <a:gd name="connsiteX14" fmla="*/ 1342 w 10012"/>
              <a:gd name="connsiteY14" fmla="*/ 2446 h 10000"/>
              <a:gd name="connsiteX15" fmla="*/ 1367 w 10012"/>
              <a:gd name="connsiteY15" fmla="*/ 1750 h 10000"/>
              <a:gd name="connsiteX16" fmla="*/ 1460 w 10012"/>
              <a:gd name="connsiteY16" fmla="*/ 2661 h 10000"/>
              <a:gd name="connsiteX17" fmla="*/ 1537 w 10012"/>
              <a:gd name="connsiteY17" fmla="*/ 2291 h 10000"/>
              <a:gd name="connsiteX18" fmla="*/ 1575 w 10012"/>
              <a:gd name="connsiteY18" fmla="*/ 1121 h 10000"/>
              <a:gd name="connsiteX19" fmla="*/ 1601 w 10012"/>
              <a:gd name="connsiteY19" fmla="*/ 2426 h 10000"/>
              <a:gd name="connsiteX20" fmla="*/ 1629 w 10012"/>
              <a:gd name="connsiteY20" fmla="*/ 2109 h 10000"/>
              <a:gd name="connsiteX21" fmla="*/ 1640 w 10012"/>
              <a:gd name="connsiteY21" fmla="*/ 2333 h 10000"/>
              <a:gd name="connsiteX22" fmla="*/ 1699 w 10012"/>
              <a:gd name="connsiteY22" fmla="*/ 1792 h 10000"/>
              <a:gd name="connsiteX23" fmla="*/ 1796 w 10012"/>
              <a:gd name="connsiteY23" fmla="*/ 2373 h 10000"/>
              <a:gd name="connsiteX24" fmla="*/ 1791 w 10012"/>
              <a:gd name="connsiteY24" fmla="*/ 2920 h 10000"/>
              <a:gd name="connsiteX25" fmla="*/ 1854 w 10012"/>
              <a:gd name="connsiteY25" fmla="*/ 3268 h 10000"/>
              <a:gd name="connsiteX26" fmla="*/ 1892 w 10012"/>
              <a:gd name="connsiteY26" fmla="*/ 2690 h 10000"/>
              <a:gd name="connsiteX27" fmla="*/ 1940 w 10012"/>
              <a:gd name="connsiteY27" fmla="*/ 3319 h 10000"/>
              <a:gd name="connsiteX28" fmla="*/ 2031 w 10012"/>
              <a:gd name="connsiteY28" fmla="*/ 1480 h 10000"/>
              <a:gd name="connsiteX29" fmla="*/ 2097 w 10012"/>
              <a:gd name="connsiteY29" fmla="*/ 3547 h 10000"/>
              <a:gd name="connsiteX30" fmla="*/ 2224 w 10012"/>
              <a:gd name="connsiteY30" fmla="*/ 2510 h 10000"/>
              <a:gd name="connsiteX31" fmla="*/ 2237 w 10012"/>
              <a:gd name="connsiteY31" fmla="*/ 1972 h 10000"/>
              <a:gd name="connsiteX32" fmla="*/ 2316 w 10012"/>
              <a:gd name="connsiteY32" fmla="*/ 2750 h 10000"/>
              <a:gd name="connsiteX33" fmla="*/ 2376 w 10012"/>
              <a:gd name="connsiteY33" fmla="*/ 2241 h 10000"/>
              <a:gd name="connsiteX34" fmla="*/ 2431 w 10012"/>
              <a:gd name="connsiteY34" fmla="*/ 2151 h 10000"/>
              <a:gd name="connsiteX35" fmla="*/ 2529 w 10012"/>
              <a:gd name="connsiteY35" fmla="*/ 1570 h 10000"/>
              <a:gd name="connsiteX36" fmla="*/ 2686 w 10012"/>
              <a:gd name="connsiteY36" fmla="*/ 1495 h 10000"/>
              <a:gd name="connsiteX37" fmla="*/ 3124 w 10012"/>
              <a:gd name="connsiteY37" fmla="*/ 1791 h 10000"/>
              <a:gd name="connsiteX38" fmla="*/ 3227 w 10012"/>
              <a:gd name="connsiteY38" fmla="*/ 2820 h 10000"/>
              <a:gd name="connsiteX39" fmla="*/ 3590 w 10012"/>
              <a:gd name="connsiteY39" fmla="*/ 2500 h 10000"/>
              <a:gd name="connsiteX40" fmla="*/ 3685 w 10012"/>
              <a:gd name="connsiteY40" fmla="*/ 1432 h 10000"/>
              <a:gd name="connsiteX41" fmla="*/ 3754 w 10012"/>
              <a:gd name="connsiteY41" fmla="*/ 1148 h 10000"/>
              <a:gd name="connsiteX42" fmla="*/ 4365 w 10012"/>
              <a:gd name="connsiteY42" fmla="*/ 6693 h 10000"/>
              <a:gd name="connsiteX43" fmla="*/ 4577 w 10012"/>
              <a:gd name="connsiteY43" fmla="*/ 6680 h 10000"/>
              <a:gd name="connsiteX44" fmla="*/ 5263 w 10012"/>
              <a:gd name="connsiteY44" fmla="*/ 766 h 10000"/>
              <a:gd name="connsiteX45" fmla="*/ 5262 w 10012"/>
              <a:gd name="connsiteY45" fmla="*/ 745 h 10000"/>
              <a:gd name="connsiteX46" fmla="*/ 5778 w 10012"/>
              <a:gd name="connsiteY46" fmla="*/ 1286 h 10000"/>
              <a:gd name="connsiteX47" fmla="*/ 5946 w 10012"/>
              <a:gd name="connsiteY47" fmla="*/ 0 h 10000"/>
              <a:gd name="connsiteX48" fmla="*/ 6493 w 10012"/>
              <a:gd name="connsiteY48" fmla="*/ 111 h 10000"/>
              <a:gd name="connsiteX49" fmla="*/ 6806 w 10012"/>
              <a:gd name="connsiteY49" fmla="*/ 42 h 10000"/>
              <a:gd name="connsiteX50" fmla="*/ 7003 w 10012"/>
              <a:gd name="connsiteY50" fmla="*/ 361 h 10000"/>
              <a:gd name="connsiteX51" fmla="*/ 7476 w 10012"/>
              <a:gd name="connsiteY51" fmla="*/ 6005 h 10000"/>
              <a:gd name="connsiteX52" fmla="*/ 8179 w 10012"/>
              <a:gd name="connsiteY52" fmla="*/ 6020 h 10000"/>
              <a:gd name="connsiteX53" fmla="*/ 8378 w 10012"/>
              <a:gd name="connsiteY53" fmla="*/ 4920 h 10000"/>
              <a:gd name="connsiteX54" fmla="*/ 8509 w 10012"/>
              <a:gd name="connsiteY54" fmla="*/ 5527 h 10000"/>
              <a:gd name="connsiteX55" fmla="*/ 8594 w 10012"/>
              <a:gd name="connsiteY55" fmla="*/ 4983 h 10000"/>
              <a:gd name="connsiteX56" fmla="*/ 8659 w 10012"/>
              <a:gd name="connsiteY56" fmla="*/ 7656 h 10000"/>
              <a:gd name="connsiteX57" fmla="*/ 8726 w 10012"/>
              <a:gd name="connsiteY57" fmla="*/ 6573 h 10000"/>
              <a:gd name="connsiteX58" fmla="*/ 8822 w 10012"/>
              <a:gd name="connsiteY58" fmla="*/ 7792 h 10000"/>
              <a:gd name="connsiteX59" fmla="*/ 8875 w 10012"/>
              <a:gd name="connsiteY59" fmla="*/ 7573 h 10000"/>
              <a:gd name="connsiteX60" fmla="*/ 8901 w 10012"/>
              <a:gd name="connsiteY60" fmla="*/ 7948 h 10000"/>
              <a:gd name="connsiteX61" fmla="*/ 8998 w 10012"/>
              <a:gd name="connsiteY61" fmla="*/ 7961 h 10000"/>
              <a:gd name="connsiteX62" fmla="*/ 9004 w 10012"/>
              <a:gd name="connsiteY62" fmla="*/ 7688 h 10000"/>
              <a:gd name="connsiteX63" fmla="*/ 9117 w 10012"/>
              <a:gd name="connsiteY63" fmla="*/ 7907 h 10000"/>
              <a:gd name="connsiteX64" fmla="*/ 9180 w 10012"/>
              <a:gd name="connsiteY64" fmla="*/ 7811 h 10000"/>
              <a:gd name="connsiteX65" fmla="*/ 9205 w 10012"/>
              <a:gd name="connsiteY65" fmla="*/ 7352 h 10000"/>
              <a:gd name="connsiteX66" fmla="*/ 9240 w 10012"/>
              <a:gd name="connsiteY66" fmla="*/ 7794 h 10000"/>
              <a:gd name="connsiteX67" fmla="*/ 9319 w 10012"/>
              <a:gd name="connsiteY67" fmla="*/ 7565 h 10000"/>
              <a:gd name="connsiteX68" fmla="*/ 9433 w 10012"/>
              <a:gd name="connsiteY68" fmla="*/ 7687 h 10000"/>
              <a:gd name="connsiteX69" fmla="*/ 9493 w 10012"/>
              <a:gd name="connsiteY69" fmla="*/ 7948 h 10000"/>
              <a:gd name="connsiteX70" fmla="*/ 9527 w 10012"/>
              <a:gd name="connsiteY70" fmla="*/ 7710 h 10000"/>
              <a:gd name="connsiteX71" fmla="*/ 9586 w 10012"/>
              <a:gd name="connsiteY71" fmla="*/ 7913 h 10000"/>
              <a:gd name="connsiteX72" fmla="*/ 9627 w 10012"/>
              <a:gd name="connsiteY72" fmla="*/ 7220 h 10000"/>
              <a:gd name="connsiteX73" fmla="*/ 9733 w 10012"/>
              <a:gd name="connsiteY73" fmla="*/ 7889 h 10000"/>
              <a:gd name="connsiteX74" fmla="*/ 9846 w 10012"/>
              <a:gd name="connsiteY74" fmla="*/ 7547 h 10000"/>
              <a:gd name="connsiteX75" fmla="*/ 9848 w 10012"/>
              <a:gd name="connsiteY75" fmla="*/ 7270 h 10000"/>
              <a:gd name="connsiteX76" fmla="*/ 9934 w 10012"/>
              <a:gd name="connsiteY76" fmla="*/ 7580 h 10000"/>
              <a:gd name="connsiteX77" fmla="*/ 10012 w 10012"/>
              <a:gd name="connsiteY77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702 w 10012"/>
              <a:gd name="connsiteY2" fmla="*/ 1612 h 10000"/>
              <a:gd name="connsiteX3" fmla="*/ 746 w 10012"/>
              <a:gd name="connsiteY3" fmla="*/ 2515 h 10000"/>
              <a:gd name="connsiteX4" fmla="*/ 840 w 10012"/>
              <a:gd name="connsiteY4" fmla="*/ 1570 h 10000"/>
              <a:gd name="connsiteX5" fmla="*/ 948 w 10012"/>
              <a:gd name="connsiteY5" fmla="*/ 2515 h 10000"/>
              <a:gd name="connsiteX6" fmla="*/ 1007 w 10012"/>
              <a:gd name="connsiteY6" fmla="*/ 1570 h 10000"/>
              <a:gd name="connsiteX7" fmla="*/ 1062 w 10012"/>
              <a:gd name="connsiteY7" fmla="*/ 1839 h 10000"/>
              <a:gd name="connsiteX8" fmla="*/ 1103 w 10012"/>
              <a:gd name="connsiteY8" fmla="*/ 1480 h 10000"/>
              <a:gd name="connsiteX9" fmla="*/ 1152 w 10012"/>
              <a:gd name="connsiteY9" fmla="*/ 2564 h 10000"/>
              <a:gd name="connsiteX10" fmla="*/ 1228 w 10012"/>
              <a:gd name="connsiteY10" fmla="*/ 1301 h 10000"/>
              <a:gd name="connsiteX11" fmla="*/ 1232 w 10012"/>
              <a:gd name="connsiteY11" fmla="*/ 2308 h 10000"/>
              <a:gd name="connsiteX12" fmla="*/ 1294 w 10012"/>
              <a:gd name="connsiteY12" fmla="*/ 2661 h 10000"/>
              <a:gd name="connsiteX13" fmla="*/ 1342 w 10012"/>
              <a:gd name="connsiteY13" fmla="*/ 2446 h 10000"/>
              <a:gd name="connsiteX14" fmla="*/ 1367 w 10012"/>
              <a:gd name="connsiteY14" fmla="*/ 1750 h 10000"/>
              <a:gd name="connsiteX15" fmla="*/ 1460 w 10012"/>
              <a:gd name="connsiteY15" fmla="*/ 2661 h 10000"/>
              <a:gd name="connsiteX16" fmla="*/ 1537 w 10012"/>
              <a:gd name="connsiteY16" fmla="*/ 2291 h 10000"/>
              <a:gd name="connsiteX17" fmla="*/ 1575 w 10012"/>
              <a:gd name="connsiteY17" fmla="*/ 1121 h 10000"/>
              <a:gd name="connsiteX18" fmla="*/ 1601 w 10012"/>
              <a:gd name="connsiteY18" fmla="*/ 2426 h 10000"/>
              <a:gd name="connsiteX19" fmla="*/ 1629 w 10012"/>
              <a:gd name="connsiteY19" fmla="*/ 2109 h 10000"/>
              <a:gd name="connsiteX20" fmla="*/ 1640 w 10012"/>
              <a:gd name="connsiteY20" fmla="*/ 2333 h 10000"/>
              <a:gd name="connsiteX21" fmla="*/ 1699 w 10012"/>
              <a:gd name="connsiteY21" fmla="*/ 1792 h 10000"/>
              <a:gd name="connsiteX22" fmla="*/ 1796 w 10012"/>
              <a:gd name="connsiteY22" fmla="*/ 2373 h 10000"/>
              <a:gd name="connsiteX23" fmla="*/ 1791 w 10012"/>
              <a:gd name="connsiteY23" fmla="*/ 2920 h 10000"/>
              <a:gd name="connsiteX24" fmla="*/ 1854 w 10012"/>
              <a:gd name="connsiteY24" fmla="*/ 3268 h 10000"/>
              <a:gd name="connsiteX25" fmla="*/ 1892 w 10012"/>
              <a:gd name="connsiteY25" fmla="*/ 2690 h 10000"/>
              <a:gd name="connsiteX26" fmla="*/ 1940 w 10012"/>
              <a:gd name="connsiteY26" fmla="*/ 3319 h 10000"/>
              <a:gd name="connsiteX27" fmla="*/ 2031 w 10012"/>
              <a:gd name="connsiteY27" fmla="*/ 1480 h 10000"/>
              <a:gd name="connsiteX28" fmla="*/ 2097 w 10012"/>
              <a:gd name="connsiteY28" fmla="*/ 3547 h 10000"/>
              <a:gd name="connsiteX29" fmla="*/ 2224 w 10012"/>
              <a:gd name="connsiteY29" fmla="*/ 2510 h 10000"/>
              <a:gd name="connsiteX30" fmla="*/ 2237 w 10012"/>
              <a:gd name="connsiteY30" fmla="*/ 1972 h 10000"/>
              <a:gd name="connsiteX31" fmla="*/ 2316 w 10012"/>
              <a:gd name="connsiteY31" fmla="*/ 2750 h 10000"/>
              <a:gd name="connsiteX32" fmla="*/ 2376 w 10012"/>
              <a:gd name="connsiteY32" fmla="*/ 2241 h 10000"/>
              <a:gd name="connsiteX33" fmla="*/ 2431 w 10012"/>
              <a:gd name="connsiteY33" fmla="*/ 2151 h 10000"/>
              <a:gd name="connsiteX34" fmla="*/ 2529 w 10012"/>
              <a:gd name="connsiteY34" fmla="*/ 1570 h 10000"/>
              <a:gd name="connsiteX35" fmla="*/ 2686 w 10012"/>
              <a:gd name="connsiteY35" fmla="*/ 1495 h 10000"/>
              <a:gd name="connsiteX36" fmla="*/ 3124 w 10012"/>
              <a:gd name="connsiteY36" fmla="*/ 1791 h 10000"/>
              <a:gd name="connsiteX37" fmla="*/ 3227 w 10012"/>
              <a:gd name="connsiteY37" fmla="*/ 2820 h 10000"/>
              <a:gd name="connsiteX38" fmla="*/ 3590 w 10012"/>
              <a:gd name="connsiteY38" fmla="*/ 2500 h 10000"/>
              <a:gd name="connsiteX39" fmla="*/ 3685 w 10012"/>
              <a:gd name="connsiteY39" fmla="*/ 1432 h 10000"/>
              <a:gd name="connsiteX40" fmla="*/ 3754 w 10012"/>
              <a:gd name="connsiteY40" fmla="*/ 1148 h 10000"/>
              <a:gd name="connsiteX41" fmla="*/ 4365 w 10012"/>
              <a:gd name="connsiteY41" fmla="*/ 6693 h 10000"/>
              <a:gd name="connsiteX42" fmla="*/ 4577 w 10012"/>
              <a:gd name="connsiteY42" fmla="*/ 6680 h 10000"/>
              <a:gd name="connsiteX43" fmla="*/ 5263 w 10012"/>
              <a:gd name="connsiteY43" fmla="*/ 766 h 10000"/>
              <a:gd name="connsiteX44" fmla="*/ 5262 w 10012"/>
              <a:gd name="connsiteY44" fmla="*/ 745 h 10000"/>
              <a:gd name="connsiteX45" fmla="*/ 5778 w 10012"/>
              <a:gd name="connsiteY45" fmla="*/ 1286 h 10000"/>
              <a:gd name="connsiteX46" fmla="*/ 5946 w 10012"/>
              <a:gd name="connsiteY46" fmla="*/ 0 h 10000"/>
              <a:gd name="connsiteX47" fmla="*/ 6493 w 10012"/>
              <a:gd name="connsiteY47" fmla="*/ 111 h 10000"/>
              <a:gd name="connsiteX48" fmla="*/ 6806 w 10012"/>
              <a:gd name="connsiteY48" fmla="*/ 42 h 10000"/>
              <a:gd name="connsiteX49" fmla="*/ 7003 w 10012"/>
              <a:gd name="connsiteY49" fmla="*/ 361 h 10000"/>
              <a:gd name="connsiteX50" fmla="*/ 7476 w 10012"/>
              <a:gd name="connsiteY50" fmla="*/ 6005 h 10000"/>
              <a:gd name="connsiteX51" fmla="*/ 8179 w 10012"/>
              <a:gd name="connsiteY51" fmla="*/ 6020 h 10000"/>
              <a:gd name="connsiteX52" fmla="*/ 8378 w 10012"/>
              <a:gd name="connsiteY52" fmla="*/ 4920 h 10000"/>
              <a:gd name="connsiteX53" fmla="*/ 8509 w 10012"/>
              <a:gd name="connsiteY53" fmla="*/ 5527 h 10000"/>
              <a:gd name="connsiteX54" fmla="*/ 8594 w 10012"/>
              <a:gd name="connsiteY54" fmla="*/ 4983 h 10000"/>
              <a:gd name="connsiteX55" fmla="*/ 8659 w 10012"/>
              <a:gd name="connsiteY55" fmla="*/ 7656 h 10000"/>
              <a:gd name="connsiteX56" fmla="*/ 8726 w 10012"/>
              <a:gd name="connsiteY56" fmla="*/ 6573 h 10000"/>
              <a:gd name="connsiteX57" fmla="*/ 8822 w 10012"/>
              <a:gd name="connsiteY57" fmla="*/ 7792 h 10000"/>
              <a:gd name="connsiteX58" fmla="*/ 8875 w 10012"/>
              <a:gd name="connsiteY58" fmla="*/ 7573 h 10000"/>
              <a:gd name="connsiteX59" fmla="*/ 8901 w 10012"/>
              <a:gd name="connsiteY59" fmla="*/ 7948 h 10000"/>
              <a:gd name="connsiteX60" fmla="*/ 8998 w 10012"/>
              <a:gd name="connsiteY60" fmla="*/ 7961 h 10000"/>
              <a:gd name="connsiteX61" fmla="*/ 9004 w 10012"/>
              <a:gd name="connsiteY61" fmla="*/ 7688 h 10000"/>
              <a:gd name="connsiteX62" fmla="*/ 9117 w 10012"/>
              <a:gd name="connsiteY62" fmla="*/ 7907 h 10000"/>
              <a:gd name="connsiteX63" fmla="*/ 9180 w 10012"/>
              <a:gd name="connsiteY63" fmla="*/ 7811 h 10000"/>
              <a:gd name="connsiteX64" fmla="*/ 9205 w 10012"/>
              <a:gd name="connsiteY64" fmla="*/ 7352 h 10000"/>
              <a:gd name="connsiteX65" fmla="*/ 9240 w 10012"/>
              <a:gd name="connsiteY65" fmla="*/ 7794 h 10000"/>
              <a:gd name="connsiteX66" fmla="*/ 9319 w 10012"/>
              <a:gd name="connsiteY66" fmla="*/ 7565 h 10000"/>
              <a:gd name="connsiteX67" fmla="*/ 9433 w 10012"/>
              <a:gd name="connsiteY67" fmla="*/ 7687 h 10000"/>
              <a:gd name="connsiteX68" fmla="*/ 9493 w 10012"/>
              <a:gd name="connsiteY68" fmla="*/ 7948 h 10000"/>
              <a:gd name="connsiteX69" fmla="*/ 9527 w 10012"/>
              <a:gd name="connsiteY69" fmla="*/ 7710 h 10000"/>
              <a:gd name="connsiteX70" fmla="*/ 9586 w 10012"/>
              <a:gd name="connsiteY70" fmla="*/ 7913 h 10000"/>
              <a:gd name="connsiteX71" fmla="*/ 9627 w 10012"/>
              <a:gd name="connsiteY71" fmla="*/ 7220 h 10000"/>
              <a:gd name="connsiteX72" fmla="*/ 9733 w 10012"/>
              <a:gd name="connsiteY72" fmla="*/ 7889 h 10000"/>
              <a:gd name="connsiteX73" fmla="*/ 9846 w 10012"/>
              <a:gd name="connsiteY73" fmla="*/ 7547 h 10000"/>
              <a:gd name="connsiteX74" fmla="*/ 9848 w 10012"/>
              <a:gd name="connsiteY74" fmla="*/ 7270 h 10000"/>
              <a:gd name="connsiteX75" fmla="*/ 9934 w 10012"/>
              <a:gd name="connsiteY75" fmla="*/ 7580 h 10000"/>
              <a:gd name="connsiteX76" fmla="*/ 10012 w 10012"/>
              <a:gd name="connsiteY76" fmla="*/ 7423 h 10000"/>
              <a:gd name="connsiteX0" fmla="*/ 0 w 10012"/>
              <a:gd name="connsiteY0" fmla="*/ 10000 h 10000"/>
              <a:gd name="connsiteX1" fmla="*/ 452 w 10012"/>
              <a:gd name="connsiteY1" fmla="*/ 2095 h 10000"/>
              <a:gd name="connsiteX2" fmla="*/ 746 w 10012"/>
              <a:gd name="connsiteY2" fmla="*/ 2515 h 10000"/>
              <a:gd name="connsiteX3" fmla="*/ 840 w 10012"/>
              <a:gd name="connsiteY3" fmla="*/ 1570 h 10000"/>
              <a:gd name="connsiteX4" fmla="*/ 948 w 10012"/>
              <a:gd name="connsiteY4" fmla="*/ 2515 h 10000"/>
              <a:gd name="connsiteX5" fmla="*/ 1007 w 10012"/>
              <a:gd name="connsiteY5" fmla="*/ 1570 h 10000"/>
              <a:gd name="connsiteX6" fmla="*/ 1062 w 10012"/>
              <a:gd name="connsiteY6" fmla="*/ 1839 h 10000"/>
              <a:gd name="connsiteX7" fmla="*/ 1103 w 10012"/>
              <a:gd name="connsiteY7" fmla="*/ 1480 h 10000"/>
              <a:gd name="connsiteX8" fmla="*/ 1152 w 10012"/>
              <a:gd name="connsiteY8" fmla="*/ 2564 h 10000"/>
              <a:gd name="connsiteX9" fmla="*/ 1228 w 10012"/>
              <a:gd name="connsiteY9" fmla="*/ 1301 h 10000"/>
              <a:gd name="connsiteX10" fmla="*/ 1232 w 10012"/>
              <a:gd name="connsiteY10" fmla="*/ 2308 h 10000"/>
              <a:gd name="connsiteX11" fmla="*/ 1294 w 10012"/>
              <a:gd name="connsiteY11" fmla="*/ 2661 h 10000"/>
              <a:gd name="connsiteX12" fmla="*/ 1342 w 10012"/>
              <a:gd name="connsiteY12" fmla="*/ 2446 h 10000"/>
              <a:gd name="connsiteX13" fmla="*/ 1367 w 10012"/>
              <a:gd name="connsiteY13" fmla="*/ 1750 h 10000"/>
              <a:gd name="connsiteX14" fmla="*/ 1460 w 10012"/>
              <a:gd name="connsiteY14" fmla="*/ 2661 h 10000"/>
              <a:gd name="connsiteX15" fmla="*/ 1537 w 10012"/>
              <a:gd name="connsiteY15" fmla="*/ 2291 h 10000"/>
              <a:gd name="connsiteX16" fmla="*/ 1575 w 10012"/>
              <a:gd name="connsiteY16" fmla="*/ 1121 h 10000"/>
              <a:gd name="connsiteX17" fmla="*/ 1601 w 10012"/>
              <a:gd name="connsiteY17" fmla="*/ 2426 h 10000"/>
              <a:gd name="connsiteX18" fmla="*/ 1629 w 10012"/>
              <a:gd name="connsiteY18" fmla="*/ 2109 h 10000"/>
              <a:gd name="connsiteX19" fmla="*/ 1640 w 10012"/>
              <a:gd name="connsiteY19" fmla="*/ 2333 h 10000"/>
              <a:gd name="connsiteX20" fmla="*/ 1699 w 10012"/>
              <a:gd name="connsiteY20" fmla="*/ 1792 h 10000"/>
              <a:gd name="connsiteX21" fmla="*/ 1796 w 10012"/>
              <a:gd name="connsiteY21" fmla="*/ 2373 h 10000"/>
              <a:gd name="connsiteX22" fmla="*/ 1791 w 10012"/>
              <a:gd name="connsiteY22" fmla="*/ 2920 h 10000"/>
              <a:gd name="connsiteX23" fmla="*/ 1854 w 10012"/>
              <a:gd name="connsiteY23" fmla="*/ 3268 h 10000"/>
              <a:gd name="connsiteX24" fmla="*/ 1892 w 10012"/>
              <a:gd name="connsiteY24" fmla="*/ 2690 h 10000"/>
              <a:gd name="connsiteX25" fmla="*/ 1940 w 10012"/>
              <a:gd name="connsiteY25" fmla="*/ 3319 h 10000"/>
              <a:gd name="connsiteX26" fmla="*/ 2031 w 10012"/>
              <a:gd name="connsiteY26" fmla="*/ 1480 h 10000"/>
              <a:gd name="connsiteX27" fmla="*/ 2097 w 10012"/>
              <a:gd name="connsiteY27" fmla="*/ 3547 h 10000"/>
              <a:gd name="connsiteX28" fmla="*/ 2224 w 10012"/>
              <a:gd name="connsiteY28" fmla="*/ 2510 h 10000"/>
              <a:gd name="connsiteX29" fmla="*/ 2237 w 10012"/>
              <a:gd name="connsiteY29" fmla="*/ 1972 h 10000"/>
              <a:gd name="connsiteX30" fmla="*/ 2316 w 10012"/>
              <a:gd name="connsiteY30" fmla="*/ 2750 h 10000"/>
              <a:gd name="connsiteX31" fmla="*/ 2376 w 10012"/>
              <a:gd name="connsiteY31" fmla="*/ 2241 h 10000"/>
              <a:gd name="connsiteX32" fmla="*/ 2431 w 10012"/>
              <a:gd name="connsiteY32" fmla="*/ 2151 h 10000"/>
              <a:gd name="connsiteX33" fmla="*/ 2529 w 10012"/>
              <a:gd name="connsiteY33" fmla="*/ 1570 h 10000"/>
              <a:gd name="connsiteX34" fmla="*/ 2686 w 10012"/>
              <a:gd name="connsiteY34" fmla="*/ 1495 h 10000"/>
              <a:gd name="connsiteX35" fmla="*/ 3124 w 10012"/>
              <a:gd name="connsiteY35" fmla="*/ 1791 h 10000"/>
              <a:gd name="connsiteX36" fmla="*/ 3227 w 10012"/>
              <a:gd name="connsiteY36" fmla="*/ 2820 h 10000"/>
              <a:gd name="connsiteX37" fmla="*/ 3590 w 10012"/>
              <a:gd name="connsiteY37" fmla="*/ 2500 h 10000"/>
              <a:gd name="connsiteX38" fmla="*/ 3685 w 10012"/>
              <a:gd name="connsiteY38" fmla="*/ 1432 h 10000"/>
              <a:gd name="connsiteX39" fmla="*/ 3754 w 10012"/>
              <a:gd name="connsiteY39" fmla="*/ 1148 h 10000"/>
              <a:gd name="connsiteX40" fmla="*/ 4365 w 10012"/>
              <a:gd name="connsiteY40" fmla="*/ 6693 h 10000"/>
              <a:gd name="connsiteX41" fmla="*/ 4577 w 10012"/>
              <a:gd name="connsiteY41" fmla="*/ 6680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365 w 10012"/>
              <a:gd name="connsiteY39" fmla="*/ 6693 h 10000"/>
              <a:gd name="connsiteX40" fmla="*/ 4577 w 10012"/>
              <a:gd name="connsiteY40" fmla="*/ 6680 h 10000"/>
              <a:gd name="connsiteX41" fmla="*/ 5263 w 10012"/>
              <a:gd name="connsiteY41" fmla="*/ 766 h 10000"/>
              <a:gd name="connsiteX42" fmla="*/ 5262 w 10012"/>
              <a:gd name="connsiteY42" fmla="*/ 745 h 10000"/>
              <a:gd name="connsiteX43" fmla="*/ 5778 w 10012"/>
              <a:gd name="connsiteY43" fmla="*/ 1286 h 10000"/>
              <a:gd name="connsiteX44" fmla="*/ 5946 w 10012"/>
              <a:gd name="connsiteY44" fmla="*/ 0 h 10000"/>
              <a:gd name="connsiteX45" fmla="*/ 6493 w 10012"/>
              <a:gd name="connsiteY45" fmla="*/ 111 h 10000"/>
              <a:gd name="connsiteX46" fmla="*/ 6806 w 10012"/>
              <a:gd name="connsiteY46" fmla="*/ 42 h 10000"/>
              <a:gd name="connsiteX47" fmla="*/ 7003 w 10012"/>
              <a:gd name="connsiteY47" fmla="*/ 361 h 10000"/>
              <a:gd name="connsiteX48" fmla="*/ 7476 w 10012"/>
              <a:gd name="connsiteY48" fmla="*/ 6005 h 10000"/>
              <a:gd name="connsiteX49" fmla="*/ 8179 w 10012"/>
              <a:gd name="connsiteY49" fmla="*/ 6020 h 10000"/>
              <a:gd name="connsiteX50" fmla="*/ 8378 w 10012"/>
              <a:gd name="connsiteY50" fmla="*/ 4920 h 10000"/>
              <a:gd name="connsiteX51" fmla="*/ 8509 w 10012"/>
              <a:gd name="connsiteY51" fmla="*/ 5527 h 10000"/>
              <a:gd name="connsiteX52" fmla="*/ 8594 w 10012"/>
              <a:gd name="connsiteY52" fmla="*/ 4983 h 10000"/>
              <a:gd name="connsiteX53" fmla="*/ 8659 w 10012"/>
              <a:gd name="connsiteY53" fmla="*/ 7656 h 10000"/>
              <a:gd name="connsiteX54" fmla="*/ 8726 w 10012"/>
              <a:gd name="connsiteY54" fmla="*/ 6573 h 10000"/>
              <a:gd name="connsiteX55" fmla="*/ 8822 w 10012"/>
              <a:gd name="connsiteY55" fmla="*/ 7792 h 10000"/>
              <a:gd name="connsiteX56" fmla="*/ 8875 w 10012"/>
              <a:gd name="connsiteY56" fmla="*/ 7573 h 10000"/>
              <a:gd name="connsiteX57" fmla="*/ 8901 w 10012"/>
              <a:gd name="connsiteY57" fmla="*/ 7948 h 10000"/>
              <a:gd name="connsiteX58" fmla="*/ 8998 w 10012"/>
              <a:gd name="connsiteY58" fmla="*/ 7961 h 10000"/>
              <a:gd name="connsiteX59" fmla="*/ 9004 w 10012"/>
              <a:gd name="connsiteY59" fmla="*/ 7688 h 10000"/>
              <a:gd name="connsiteX60" fmla="*/ 9117 w 10012"/>
              <a:gd name="connsiteY60" fmla="*/ 7907 h 10000"/>
              <a:gd name="connsiteX61" fmla="*/ 9180 w 10012"/>
              <a:gd name="connsiteY61" fmla="*/ 7811 h 10000"/>
              <a:gd name="connsiteX62" fmla="*/ 9205 w 10012"/>
              <a:gd name="connsiteY62" fmla="*/ 7352 h 10000"/>
              <a:gd name="connsiteX63" fmla="*/ 9240 w 10012"/>
              <a:gd name="connsiteY63" fmla="*/ 7794 h 10000"/>
              <a:gd name="connsiteX64" fmla="*/ 9319 w 10012"/>
              <a:gd name="connsiteY64" fmla="*/ 7565 h 10000"/>
              <a:gd name="connsiteX65" fmla="*/ 9433 w 10012"/>
              <a:gd name="connsiteY65" fmla="*/ 7687 h 10000"/>
              <a:gd name="connsiteX66" fmla="*/ 9493 w 10012"/>
              <a:gd name="connsiteY66" fmla="*/ 7948 h 10000"/>
              <a:gd name="connsiteX67" fmla="*/ 9527 w 10012"/>
              <a:gd name="connsiteY67" fmla="*/ 7710 h 10000"/>
              <a:gd name="connsiteX68" fmla="*/ 9586 w 10012"/>
              <a:gd name="connsiteY68" fmla="*/ 7913 h 10000"/>
              <a:gd name="connsiteX69" fmla="*/ 9627 w 10012"/>
              <a:gd name="connsiteY69" fmla="*/ 7220 h 10000"/>
              <a:gd name="connsiteX70" fmla="*/ 9733 w 10012"/>
              <a:gd name="connsiteY70" fmla="*/ 7889 h 10000"/>
              <a:gd name="connsiteX71" fmla="*/ 9846 w 10012"/>
              <a:gd name="connsiteY71" fmla="*/ 7547 h 10000"/>
              <a:gd name="connsiteX72" fmla="*/ 9848 w 10012"/>
              <a:gd name="connsiteY72" fmla="*/ 7270 h 10000"/>
              <a:gd name="connsiteX73" fmla="*/ 9934 w 10012"/>
              <a:gd name="connsiteY73" fmla="*/ 7580 h 10000"/>
              <a:gd name="connsiteX74" fmla="*/ 10012 w 10012"/>
              <a:gd name="connsiteY74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365 w 10012"/>
              <a:gd name="connsiteY39" fmla="*/ 6693 h 10000"/>
              <a:gd name="connsiteX40" fmla="*/ 4577 w 10012"/>
              <a:gd name="connsiteY40" fmla="*/ 6680 h 10000"/>
              <a:gd name="connsiteX41" fmla="*/ 4854 w 10012"/>
              <a:gd name="connsiteY41" fmla="*/ 182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365 w 10012"/>
              <a:gd name="connsiteY39" fmla="*/ 6693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365 w 10012"/>
              <a:gd name="connsiteY39" fmla="*/ 6693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365 w 10012"/>
              <a:gd name="connsiteY39" fmla="*/ 6693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665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665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665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746 w 10012"/>
              <a:gd name="connsiteY1" fmla="*/ 2515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56 w 10012"/>
              <a:gd name="connsiteY1" fmla="*/ 1732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56 w 10012"/>
              <a:gd name="connsiteY1" fmla="*/ 1648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65 w 10012"/>
              <a:gd name="connsiteY1" fmla="*/ 1480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65 w 10012"/>
              <a:gd name="connsiteY1" fmla="*/ 1620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65 w 10012"/>
              <a:gd name="connsiteY1" fmla="*/ 1620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65 w 10012"/>
              <a:gd name="connsiteY1" fmla="*/ 1620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56 w 10012"/>
              <a:gd name="connsiteY1" fmla="*/ 1536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82 w 10012"/>
              <a:gd name="connsiteY1" fmla="*/ 1620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82 w 10012"/>
              <a:gd name="connsiteY1" fmla="*/ 1536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91 w 10012"/>
              <a:gd name="connsiteY1" fmla="*/ 1592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91 w 10012"/>
              <a:gd name="connsiteY1" fmla="*/ 1592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476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91 w 10012"/>
              <a:gd name="connsiteY1" fmla="*/ 1592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364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91 w 10012"/>
              <a:gd name="connsiteY1" fmla="*/ 1592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364 w 10012"/>
              <a:gd name="connsiteY49" fmla="*/ 6005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91 w 10012"/>
              <a:gd name="connsiteY1" fmla="*/ 1592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321 w 10012"/>
              <a:gd name="connsiteY49" fmla="*/ 6033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591 w 10012"/>
              <a:gd name="connsiteY1" fmla="*/ 1592 h 10000"/>
              <a:gd name="connsiteX2" fmla="*/ 840 w 10012"/>
              <a:gd name="connsiteY2" fmla="*/ 1570 h 10000"/>
              <a:gd name="connsiteX3" fmla="*/ 948 w 10012"/>
              <a:gd name="connsiteY3" fmla="*/ 2515 h 10000"/>
              <a:gd name="connsiteX4" fmla="*/ 1007 w 10012"/>
              <a:gd name="connsiteY4" fmla="*/ 1570 h 10000"/>
              <a:gd name="connsiteX5" fmla="*/ 1062 w 10012"/>
              <a:gd name="connsiteY5" fmla="*/ 1839 h 10000"/>
              <a:gd name="connsiteX6" fmla="*/ 1103 w 10012"/>
              <a:gd name="connsiteY6" fmla="*/ 1480 h 10000"/>
              <a:gd name="connsiteX7" fmla="*/ 1152 w 10012"/>
              <a:gd name="connsiteY7" fmla="*/ 2564 h 10000"/>
              <a:gd name="connsiteX8" fmla="*/ 1228 w 10012"/>
              <a:gd name="connsiteY8" fmla="*/ 1301 h 10000"/>
              <a:gd name="connsiteX9" fmla="*/ 1232 w 10012"/>
              <a:gd name="connsiteY9" fmla="*/ 2308 h 10000"/>
              <a:gd name="connsiteX10" fmla="*/ 1294 w 10012"/>
              <a:gd name="connsiteY10" fmla="*/ 2661 h 10000"/>
              <a:gd name="connsiteX11" fmla="*/ 1342 w 10012"/>
              <a:gd name="connsiteY11" fmla="*/ 2446 h 10000"/>
              <a:gd name="connsiteX12" fmla="*/ 1367 w 10012"/>
              <a:gd name="connsiteY12" fmla="*/ 1750 h 10000"/>
              <a:gd name="connsiteX13" fmla="*/ 1460 w 10012"/>
              <a:gd name="connsiteY13" fmla="*/ 2661 h 10000"/>
              <a:gd name="connsiteX14" fmla="*/ 1537 w 10012"/>
              <a:gd name="connsiteY14" fmla="*/ 2291 h 10000"/>
              <a:gd name="connsiteX15" fmla="*/ 1575 w 10012"/>
              <a:gd name="connsiteY15" fmla="*/ 1121 h 10000"/>
              <a:gd name="connsiteX16" fmla="*/ 1601 w 10012"/>
              <a:gd name="connsiteY16" fmla="*/ 2426 h 10000"/>
              <a:gd name="connsiteX17" fmla="*/ 1629 w 10012"/>
              <a:gd name="connsiteY17" fmla="*/ 2109 h 10000"/>
              <a:gd name="connsiteX18" fmla="*/ 1640 w 10012"/>
              <a:gd name="connsiteY18" fmla="*/ 2333 h 10000"/>
              <a:gd name="connsiteX19" fmla="*/ 1699 w 10012"/>
              <a:gd name="connsiteY19" fmla="*/ 1792 h 10000"/>
              <a:gd name="connsiteX20" fmla="*/ 1796 w 10012"/>
              <a:gd name="connsiteY20" fmla="*/ 2373 h 10000"/>
              <a:gd name="connsiteX21" fmla="*/ 1791 w 10012"/>
              <a:gd name="connsiteY21" fmla="*/ 2920 h 10000"/>
              <a:gd name="connsiteX22" fmla="*/ 1854 w 10012"/>
              <a:gd name="connsiteY22" fmla="*/ 3268 h 10000"/>
              <a:gd name="connsiteX23" fmla="*/ 1892 w 10012"/>
              <a:gd name="connsiteY23" fmla="*/ 2690 h 10000"/>
              <a:gd name="connsiteX24" fmla="*/ 1940 w 10012"/>
              <a:gd name="connsiteY24" fmla="*/ 3319 h 10000"/>
              <a:gd name="connsiteX25" fmla="*/ 2031 w 10012"/>
              <a:gd name="connsiteY25" fmla="*/ 1480 h 10000"/>
              <a:gd name="connsiteX26" fmla="*/ 2097 w 10012"/>
              <a:gd name="connsiteY26" fmla="*/ 3547 h 10000"/>
              <a:gd name="connsiteX27" fmla="*/ 2224 w 10012"/>
              <a:gd name="connsiteY27" fmla="*/ 2510 h 10000"/>
              <a:gd name="connsiteX28" fmla="*/ 2237 w 10012"/>
              <a:gd name="connsiteY28" fmla="*/ 1972 h 10000"/>
              <a:gd name="connsiteX29" fmla="*/ 2316 w 10012"/>
              <a:gd name="connsiteY29" fmla="*/ 2750 h 10000"/>
              <a:gd name="connsiteX30" fmla="*/ 2376 w 10012"/>
              <a:gd name="connsiteY30" fmla="*/ 2241 h 10000"/>
              <a:gd name="connsiteX31" fmla="*/ 2431 w 10012"/>
              <a:gd name="connsiteY31" fmla="*/ 2151 h 10000"/>
              <a:gd name="connsiteX32" fmla="*/ 2529 w 10012"/>
              <a:gd name="connsiteY32" fmla="*/ 1570 h 10000"/>
              <a:gd name="connsiteX33" fmla="*/ 2686 w 10012"/>
              <a:gd name="connsiteY33" fmla="*/ 1495 h 10000"/>
              <a:gd name="connsiteX34" fmla="*/ 3124 w 10012"/>
              <a:gd name="connsiteY34" fmla="*/ 1791 h 10000"/>
              <a:gd name="connsiteX35" fmla="*/ 3227 w 10012"/>
              <a:gd name="connsiteY35" fmla="*/ 2820 h 10000"/>
              <a:gd name="connsiteX36" fmla="*/ 3590 w 10012"/>
              <a:gd name="connsiteY36" fmla="*/ 2500 h 10000"/>
              <a:gd name="connsiteX37" fmla="*/ 3685 w 10012"/>
              <a:gd name="connsiteY37" fmla="*/ 1432 h 10000"/>
              <a:gd name="connsiteX38" fmla="*/ 3754 w 10012"/>
              <a:gd name="connsiteY38" fmla="*/ 1148 h 10000"/>
              <a:gd name="connsiteX39" fmla="*/ 4183 w 10012"/>
              <a:gd name="connsiteY39" fmla="*/ 6721 h 10000"/>
              <a:gd name="connsiteX40" fmla="*/ 4577 w 10012"/>
              <a:gd name="connsiteY40" fmla="*/ 6680 h 10000"/>
              <a:gd name="connsiteX41" fmla="*/ 4958 w 10012"/>
              <a:gd name="connsiteY41" fmla="*/ 737 h 10000"/>
              <a:gd name="connsiteX42" fmla="*/ 5263 w 10012"/>
              <a:gd name="connsiteY42" fmla="*/ 766 h 10000"/>
              <a:gd name="connsiteX43" fmla="*/ 5262 w 10012"/>
              <a:gd name="connsiteY43" fmla="*/ 745 h 10000"/>
              <a:gd name="connsiteX44" fmla="*/ 5778 w 10012"/>
              <a:gd name="connsiteY44" fmla="*/ 1286 h 10000"/>
              <a:gd name="connsiteX45" fmla="*/ 5946 w 10012"/>
              <a:gd name="connsiteY45" fmla="*/ 0 h 10000"/>
              <a:gd name="connsiteX46" fmla="*/ 6493 w 10012"/>
              <a:gd name="connsiteY46" fmla="*/ 111 h 10000"/>
              <a:gd name="connsiteX47" fmla="*/ 6806 w 10012"/>
              <a:gd name="connsiteY47" fmla="*/ 42 h 10000"/>
              <a:gd name="connsiteX48" fmla="*/ 7003 w 10012"/>
              <a:gd name="connsiteY48" fmla="*/ 361 h 10000"/>
              <a:gd name="connsiteX49" fmla="*/ 7321 w 10012"/>
              <a:gd name="connsiteY49" fmla="*/ 6033 h 10000"/>
              <a:gd name="connsiteX50" fmla="*/ 8179 w 10012"/>
              <a:gd name="connsiteY50" fmla="*/ 6020 h 10000"/>
              <a:gd name="connsiteX51" fmla="*/ 8378 w 10012"/>
              <a:gd name="connsiteY51" fmla="*/ 4920 h 10000"/>
              <a:gd name="connsiteX52" fmla="*/ 8509 w 10012"/>
              <a:gd name="connsiteY52" fmla="*/ 5527 h 10000"/>
              <a:gd name="connsiteX53" fmla="*/ 8594 w 10012"/>
              <a:gd name="connsiteY53" fmla="*/ 4983 h 10000"/>
              <a:gd name="connsiteX54" fmla="*/ 8659 w 10012"/>
              <a:gd name="connsiteY54" fmla="*/ 7656 h 10000"/>
              <a:gd name="connsiteX55" fmla="*/ 8726 w 10012"/>
              <a:gd name="connsiteY55" fmla="*/ 6573 h 10000"/>
              <a:gd name="connsiteX56" fmla="*/ 8822 w 10012"/>
              <a:gd name="connsiteY56" fmla="*/ 7792 h 10000"/>
              <a:gd name="connsiteX57" fmla="*/ 8875 w 10012"/>
              <a:gd name="connsiteY57" fmla="*/ 7573 h 10000"/>
              <a:gd name="connsiteX58" fmla="*/ 8901 w 10012"/>
              <a:gd name="connsiteY58" fmla="*/ 7948 h 10000"/>
              <a:gd name="connsiteX59" fmla="*/ 8998 w 10012"/>
              <a:gd name="connsiteY59" fmla="*/ 7961 h 10000"/>
              <a:gd name="connsiteX60" fmla="*/ 9004 w 10012"/>
              <a:gd name="connsiteY60" fmla="*/ 7688 h 10000"/>
              <a:gd name="connsiteX61" fmla="*/ 9117 w 10012"/>
              <a:gd name="connsiteY61" fmla="*/ 7907 h 10000"/>
              <a:gd name="connsiteX62" fmla="*/ 9180 w 10012"/>
              <a:gd name="connsiteY62" fmla="*/ 7811 h 10000"/>
              <a:gd name="connsiteX63" fmla="*/ 9205 w 10012"/>
              <a:gd name="connsiteY63" fmla="*/ 7352 h 10000"/>
              <a:gd name="connsiteX64" fmla="*/ 9240 w 10012"/>
              <a:gd name="connsiteY64" fmla="*/ 7794 h 10000"/>
              <a:gd name="connsiteX65" fmla="*/ 9319 w 10012"/>
              <a:gd name="connsiteY65" fmla="*/ 7565 h 10000"/>
              <a:gd name="connsiteX66" fmla="*/ 9433 w 10012"/>
              <a:gd name="connsiteY66" fmla="*/ 7687 h 10000"/>
              <a:gd name="connsiteX67" fmla="*/ 9493 w 10012"/>
              <a:gd name="connsiteY67" fmla="*/ 7948 h 10000"/>
              <a:gd name="connsiteX68" fmla="*/ 9527 w 10012"/>
              <a:gd name="connsiteY68" fmla="*/ 7710 h 10000"/>
              <a:gd name="connsiteX69" fmla="*/ 9586 w 10012"/>
              <a:gd name="connsiteY69" fmla="*/ 7913 h 10000"/>
              <a:gd name="connsiteX70" fmla="*/ 9627 w 10012"/>
              <a:gd name="connsiteY70" fmla="*/ 7220 h 10000"/>
              <a:gd name="connsiteX71" fmla="*/ 9733 w 10012"/>
              <a:gd name="connsiteY71" fmla="*/ 7889 h 10000"/>
              <a:gd name="connsiteX72" fmla="*/ 9846 w 10012"/>
              <a:gd name="connsiteY72" fmla="*/ 7547 h 10000"/>
              <a:gd name="connsiteX73" fmla="*/ 9848 w 10012"/>
              <a:gd name="connsiteY73" fmla="*/ 7270 h 10000"/>
              <a:gd name="connsiteX74" fmla="*/ 9934 w 10012"/>
              <a:gd name="connsiteY74" fmla="*/ 7580 h 10000"/>
              <a:gd name="connsiteX75" fmla="*/ 10012 w 10012"/>
              <a:gd name="connsiteY75" fmla="*/ 7423 h 10000"/>
              <a:gd name="connsiteX0" fmla="*/ 0 w 10012"/>
              <a:gd name="connsiteY0" fmla="*/ 10000 h 10000"/>
              <a:gd name="connsiteX1" fmla="*/ 294 w 10012"/>
              <a:gd name="connsiteY1" fmla="*/ 5619 h 10000"/>
              <a:gd name="connsiteX2" fmla="*/ 591 w 10012"/>
              <a:gd name="connsiteY2" fmla="*/ 1592 h 10000"/>
              <a:gd name="connsiteX3" fmla="*/ 840 w 10012"/>
              <a:gd name="connsiteY3" fmla="*/ 1570 h 10000"/>
              <a:gd name="connsiteX4" fmla="*/ 948 w 10012"/>
              <a:gd name="connsiteY4" fmla="*/ 2515 h 10000"/>
              <a:gd name="connsiteX5" fmla="*/ 1007 w 10012"/>
              <a:gd name="connsiteY5" fmla="*/ 1570 h 10000"/>
              <a:gd name="connsiteX6" fmla="*/ 1062 w 10012"/>
              <a:gd name="connsiteY6" fmla="*/ 1839 h 10000"/>
              <a:gd name="connsiteX7" fmla="*/ 1103 w 10012"/>
              <a:gd name="connsiteY7" fmla="*/ 1480 h 10000"/>
              <a:gd name="connsiteX8" fmla="*/ 1152 w 10012"/>
              <a:gd name="connsiteY8" fmla="*/ 2564 h 10000"/>
              <a:gd name="connsiteX9" fmla="*/ 1228 w 10012"/>
              <a:gd name="connsiteY9" fmla="*/ 1301 h 10000"/>
              <a:gd name="connsiteX10" fmla="*/ 1232 w 10012"/>
              <a:gd name="connsiteY10" fmla="*/ 2308 h 10000"/>
              <a:gd name="connsiteX11" fmla="*/ 1294 w 10012"/>
              <a:gd name="connsiteY11" fmla="*/ 2661 h 10000"/>
              <a:gd name="connsiteX12" fmla="*/ 1342 w 10012"/>
              <a:gd name="connsiteY12" fmla="*/ 2446 h 10000"/>
              <a:gd name="connsiteX13" fmla="*/ 1367 w 10012"/>
              <a:gd name="connsiteY13" fmla="*/ 1750 h 10000"/>
              <a:gd name="connsiteX14" fmla="*/ 1460 w 10012"/>
              <a:gd name="connsiteY14" fmla="*/ 2661 h 10000"/>
              <a:gd name="connsiteX15" fmla="*/ 1537 w 10012"/>
              <a:gd name="connsiteY15" fmla="*/ 2291 h 10000"/>
              <a:gd name="connsiteX16" fmla="*/ 1575 w 10012"/>
              <a:gd name="connsiteY16" fmla="*/ 1121 h 10000"/>
              <a:gd name="connsiteX17" fmla="*/ 1601 w 10012"/>
              <a:gd name="connsiteY17" fmla="*/ 2426 h 10000"/>
              <a:gd name="connsiteX18" fmla="*/ 1629 w 10012"/>
              <a:gd name="connsiteY18" fmla="*/ 2109 h 10000"/>
              <a:gd name="connsiteX19" fmla="*/ 1640 w 10012"/>
              <a:gd name="connsiteY19" fmla="*/ 2333 h 10000"/>
              <a:gd name="connsiteX20" fmla="*/ 1699 w 10012"/>
              <a:gd name="connsiteY20" fmla="*/ 1792 h 10000"/>
              <a:gd name="connsiteX21" fmla="*/ 1796 w 10012"/>
              <a:gd name="connsiteY21" fmla="*/ 2373 h 10000"/>
              <a:gd name="connsiteX22" fmla="*/ 1791 w 10012"/>
              <a:gd name="connsiteY22" fmla="*/ 2920 h 10000"/>
              <a:gd name="connsiteX23" fmla="*/ 1854 w 10012"/>
              <a:gd name="connsiteY23" fmla="*/ 3268 h 10000"/>
              <a:gd name="connsiteX24" fmla="*/ 1892 w 10012"/>
              <a:gd name="connsiteY24" fmla="*/ 2690 h 10000"/>
              <a:gd name="connsiteX25" fmla="*/ 1940 w 10012"/>
              <a:gd name="connsiteY25" fmla="*/ 3319 h 10000"/>
              <a:gd name="connsiteX26" fmla="*/ 2031 w 10012"/>
              <a:gd name="connsiteY26" fmla="*/ 1480 h 10000"/>
              <a:gd name="connsiteX27" fmla="*/ 2097 w 10012"/>
              <a:gd name="connsiteY27" fmla="*/ 3547 h 10000"/>
              <a:gd name="connsiteX28" fmla="*/ 2224 w 10012"/>
              <a:gd name="connsiteY28" fmla="*/ 2510 h 10000"/>
              <a:gd name="connsiteX29" fmla="*/ 2237 w 10012"/>
              <a:gd name="connsiteY29" fmla="*/ 1972 h 10000"/>
              <a:gd name="connsiteX30" fmla="*/ 2316 w 10012"/>
              <a:gd name="connsiteY30" fmla="*/ 2750 h 10000"/>
              <a:gd name="connsiteX31" fmla="*/ 2376 w 10012"/>
              <a:gd name="connsiteY31" fmla="*/ 2241 h 10000"/>
              <a:gd name="connsiteX32" fmla="*/ 2431 w 10012"/>
              <a:gd name="connsiteY32" fmla="*/ 2151 h 10000"/>
              <a:gd name="connsiteX33" fmla="*/ 2529 w 10012"/>
              <a:gd name="connsiteY33" fmla="*/ 1570 h 10000"/>
              <a:gd name="connsiteX34" fmla="*/ 2686 w 10012"/>
              <a:gd name="connsiteY34" fmla="*/ 1495 h 10000"/>
              <a:gd name="connsiteX35" fmla="*/ 3124 w 10012"/>
              <a:gd name="connsiteY35" fmla="*/ 1791 h 10000"/>
              <a:gd name="connsiteX36" fmla="*/ 3227 w 10012"/>
              <a:gd name="connsiteY36" fmla="*/ 2820 h 10000"/>
              <a:gd name="connsiteX37" fmla="*/ 3590 w 10012"/>
              <a:gd name="connsiteY37" fmla="*/ 2500 h 10000"/>
              <a:gd name="connsiteX38" fmla="*/ 3685 w 10012"/>
              <a:gd name="connsiteY38" fmla="*/ 1432 h 10000"/>
              <a:gd name="connsiteX39" fmla="*/ 3754 w 10012"/>
              <a:gd name="connsiteY39" fmla="*/ 1148 h 10000"/>
              <a:gd name="connsiteX40" fmla="*/ 4183 w 10012"/>
              <a:gd name="connsiteY40" fmla="*/ 6721 h 10000"/>
              <a:gd name="connsiteX41" fmla="*/ 4577 w 10012"/>
              <a:gd name="connsiteY41" fmla="*/ 6680 h 10000"/>
              <a:gd name="connsiteX42" fmla="*/ 4958 w 10012"/>
              <a:gd name="connsiteY42" fmla="*/ 737 h 10000"/>
              <a:gd name="connsiteX43" fmla="*/ 5263 w 10012"/>
              <a:gd name="connsiteY43" fmla="*/ 766 h 10000"/>
              <a:gd name="connsiteX44" fmla="*/ 5262 w 10012"/>
              <a:gd name="connsiteY44" fmla="*/ 745 h 10000"/>
              <a:gd name="connsiteX45" fmla="*/ 5778 w 10012"/>
              <a:gd name="connsiteY45" fmla="*/ 1286 h 10000"/>
              <a:gd name="connsiteX46" fmla="*/ 5946 w 10012"/>
              <a:gd name="connsiteY46" fmla="*/ 0 h 10000"/>
              <a:gd name="connsiteX47" fmla="*/ 6493 w 10012"/>
              <a:gd name="connsiteY47" fmla="*/ 111 h 10000"/>
              <a:gd name="connsiteX48" fmla="*/ 6806 w 10012"/>
              <a:gd name="connsiteY48" fmla="*/ 42 h 10000"/>
              <a:gd name="connsiteX49" fmla="*/ 7003 w 10012"/>
              <a:gd name="connsiteY49" fmla="*/ 361 h 10000"/>
              <a:gd name="connsiteX50" fmla="*/ 7321 w 10012"/>
              <a:gd name="connsiteY50" fmla="*/ 6033 h 10000"/>
              <a:gd name="connsiteX51" fmla="*/ 8179 w 10012"/>
              <a:gd name="connsiteY51" fmla="*/ 6020 h 10000"/>
              <a:gd name="connsiteX52" fmla="*/ 8378 w 10012"/>
              <a:gd name="connsiteY52" fmla="*/ 4920 h 10000"/>
              <a:gd name="connsiteX53" fmla="*/ 8509 w 10012"/>
              <a:gd name="connsiteY53" fmla="*/ 5527 h 10000"/>
              <a:gd name="connsiteX54" fmla="*/ 8594 w 10012"/>
              <a:gd name="connsiteY54" fmla="*/ 4983 h 10000"/>
              <a:gd name="connsiteX55" fmla="*/ 8659 w 10012"/>
              <a:gd name="connsiteY55" fmla="*/ 7656 h 10000"/>
              <a:gd name="connsiteX56" fmla="*/ 8726 w 10012"/>
              <a:gd name="connsiteY56" fmla="*/ 6573 h 10000"/>
              <a:gd name="connsiteX57" fmla="*/ 8822 w 10012"/>
              <a:gd name="connsiteY57" fmla="*/ 7792 h 10000"/>
              <a:gd name="connsiteX58" fmla="*/ 8875 w 10012"/>
              <a:gd name="connsiteY58" fmla="*/ 7573 h 10000"/>
              <a:gd name="connsiteX59" fmla="*/ 8901 w 10012"/>
              <a:gd name="connsiteY59" fmla="*/ 7948 h 10000"/>
              <a:gd name="connsiteX60" fmla="*/ 8998 w 10012"/>
              <a:gd name="connsiteY60" fmla="*/ 7961 h 10000"/>
              <a:gd name="connsiteX61" fmla="*/ 9004 w 10012"/>
              <a:gd name="connsiteY61" fmla="*/ 7688 h 10000"/>
              <a:gd name="connsiteX62" fmla="*/ 9117 w 10012"/>
              <a:gd name="connsiteY62" fmla="*/ 7907 h 10000"/>
              <a:gd name="connsiteX63" fmla="*/ 9180 w 10012"/>
              <a:gd name="connsiteY63" fmla="*/ 7811 h 10000"/>
              <a:gd name="connsiteX64" fmla="*/ 9205 w 10012"/>
              <a:gd name="connsiteY64" fmla="*/ 7352 h 10000"/>
              <a:gd name="connsiteX65" fmla="*/ 9240 w 10012"/>
              <a:gd name="connsiteY65" fmla="*/ 7794 h 10000"/>
              <a:gd name="connsiteX66" fmla="*/ 9319 w 10012"/>
              <a:gd name="connsiteY66" fmla="*/ 7565 h 10000"/>
              <a:gd name="connsiteX67" fmla="*/ 9433 w 10012"/>
              <a:gd name="connsiteY67" fmla="*/ 7687 h 10000"/>
              <a:gd name="connsiteX68" fmla="*/ 9493 w 10012"/>
              <a:gd name="connsiteY68" fmla="*/ 7948 h 10000"/>
              <a:gd name="connsiteX69" fmla="*/ 9527 w 10012"/>
              <a:gd name="connsiteY69" fmla="*/ 7710 h 10000"/>
              <a:gd name="connsiteX70" fmla="*/ 9586 w 10012"/>
              <a:gd name="connsiteY70" fmla="*/ 7913 h 10000"/>
              <a:gd name="connsiteX71" fmla="*/ 9627 w 10012"/>
              <a:gd name="connsiteY71" fmla="*/ 7220 h 10000"/>
              <a:gd name="connsiteX72" fmla="*/ 9733 w 10012"/>
              <a:gd name="connsiteY72" fmla="*/ 7889 h 10000"/>
              <a:gd name="connsiteX73" fmla="*/ 9846 w 10012"/>
              <a:gd name="connsiteY73" fmla="*/ 7547 h 10000"/>
              <a:gd name="connsiteX74" fmla="*/ 9848 w 10012"/>
              <a:gd name="connsiteY74" fmla="*/ 7270 h 10000"/>
              <a:gd name="connsiteX75" fmla="*/ 9934 w 10012"/>
              <a:gd name="connsiteY75" fmla="*/ 7580 h 10000"/>
              <a:gd name="connsiteX76" fmla="*/ 10012 w 10012"/>
              <a:gd name="connsiteY76" fmla="*/ 7423 h 10000"/>
              <a:gd name="connsiteX0" fmla="*/ 0 w 10012"/>
              <a:gd name="connsiteY0" fmla="*/ 10000 h 10000"/>
              <a:gd name="connsiteX1" fmla="*/ 130 w 10012"/>
              <a:gd name="connsiteY1" fmla="*/ 5591 h 10000"/>
              <a:gd name="connsiteX2" fmla="*/ 591 w 10012"/>
              <a:gd name="connsiteY2" fmla="*/ 1592 h 10000"/>
              <a:gd name="connsiteX3" fmla="*/ 840 w 10012"/>
              <a:gd name="connsiteY3" fmla="*/ 1570 h 10000"/>
              <a:gd name="connsiteX4" fmla="*/ 948 w 10012"/>
              <a:gd name="connsiteY4" fmla="*/ 2515 h 10000"/>
              <a:gd name="connsiteX5" fmla="*/ 1007 w 10012"/>
              <a:gd name="connsiteY5" fmla="*/ 1570 h 10000"/>
              <a:gd name="connsiteX6" fmla="*/ 1062 w 10012"/>
              <a:gd name="connsiteY6" fmla="*/ 1839 h 10000"/>
              <a:gd name="connsiteX7" fmla="*/ 1103 w 10012"/>
              <a:gd name="connsiteY7" fmla="*/ 1480 h 10000"/>
              <a:gd name="connsiteX8" fmla="*/ 1152 w 10012"/>
              <a:gd name="connsiteY8" fmla="*/ 2564 h 10000"/>
              <a:gd name="connsiteX9" fmla="*/ 1228 w 10012"/>
              <a:gd name="connsiteY9" fmla="*/ 1301 h 10000"/>
              <a:gd name="connsiteX10" fmla="*/ 1232 w 10012"/>
              <a:gd name="connsiteY10" fmla="*/ 2308 h 10000"/>
              <a:gd name="connsiteX11" fmla="*/ 1294 w 10012"/>
              <a:gd name="connsiteY11" fmla="*/ 2661 h 10000"/>
              <a:gd name="connsiteX12" fmla="*/ 1342 w 10012"/>
              <a:gd name="connsiteY12" fmla="*/ 2446 h 10000"/>
              <a:gd name="connsiteX13" fmla="*/ 1367 w 10012"/>
              <a:gd name="connsiteY13" fmla="*/ 1750 h 10000"/>
              <a:gd name="connsiteX14" fmla="*/ 1460 w 10012"/>
              <a:gd name="connsiteY14" fmla="*/ 2661 h 10000"/>
              <a:gd name="connsiteX15" fmla="*/ 1537 w 10012"/>
              <a:gd name="connsiteY15" fmla="*/ 2291 h 10000"/>
              <a:gd name="connsiteX16" fmla="*/ 1575 w 10012"/>
              <a:gd name="connsiteY16" fmla="*/ 1121 h 10000"/>
              <a:gd name="connsiteX17" fmla="*/ 1601 w 10012"/>
              <a:gd name="connsiteY17" fmla="*/ 2426 h 10000"/>
              <a:gd name="connsiteX18" fmla="*/ 1629 w 10012"/>
              <a:gd name="connsiteY18" fmla="*/ 2109 h 10000"/>
              <a:gd name="connsiteX19" fmla="*/ 1640 w 10012"/>
              <a:gd name="connsiteY19" fmla="*/ 2333 h 10000"/>
              <a:gd name="connsiteX20" fmla="*/ 1699 w 10012"/>
              <a:gd name="connsiteY20" fmla="*/ 1792 h 10000"/>
              <a:gd name="connsiteX21" fmla="*/ 1796 w 10012"/>
              <a:gd name="connsiteY21" fmla="*/ 2373 h 10000"/>
              <a:gd name="connsiteX22" fmla="*/ 1791 w 10012"/>
              <a:gd name="connsiteY22" fmla="*/ 2920 h 10000"/>
              <a:gd name="connsiteX23" fmla="*/ 1854 w 10012"/>
              <a:gd name="connsiteY23" fmla="*/ 3268 h 10000"/>
              <a:gd name="connsiteX24" fmla="*/ 1892 w 10012"/>
              <a:gd name="connsiteY24" fmla="*/ 2690 h 10000"/>
              <a:gd name="connsiteX25" fmla="*/ 1940 w 10012"/>
              <a:gd name="connsiteY25" fmla="*/ 3319 h 10000"/>
              <a:gd name="connsiteX26" fmla="*/ 2031 w 10012"/>
              <a:gd name="connsiteY26" fmla="*/ 1480 h 10000"/>
              <a:gd name="connsiteX27" fmla="*/ 2097 w 10012"/>
              <a:gd name="connsiteY27" fmla="*/ 3547 h 10000"/>
              <a:gd name="connsiteX28" fmla="*/ 2224 w 10012"/>
              <a:gd name="connsiteY28" fmla="*/ 2510 h 10000"/>
              <a:gd name="connsiteX29" fmla="*/ 2237 w 10012"/>
              <a:gd name="connsiteY29" fmla="*/ 1972 h 10000"/>
              <a:gd name="connsiteX30" fmla="*/ 2316 w 10012"/>
              <a:gd name="connsiteY30" fmla="*/ 2750 h 10000"/>
              <a:gd name="connsiteX31" fmla="*/ 2376 w 10012"/>
              <a:gd name="connsiteY31" fmla="*/ 2241 h 10000"/>
              <a:gd name="connsiteX32" fmla="*/ 2431 w 10012"/>
              <a:gd name="connsiteY32" fmla="*/ 2151 h 10000"/>
              <a:gd name="connsiteX33" fmla="*/ 2529 w 10012"/>
              <a:gd name="connsiteY33" fmla="*/ 1570 h 10000"/>
              <a:gd name="connsiteX34" fmla="*/ 2686 w 10012"/>
              <a:gd name="connsiteY34" fmla="*/ 1495 h 10000"/>
              <a:gd name="connsiteX35" fmla="*/ 3124 w 10012"/>
              <a:gd name="connsiteY35" fmla="*/ 1791 h 10000"/>
              <a:gd name="connsiteX36" fmla="*/ 3227 w 10012"/>
              <a:gd name="connsiteY36" fmla="*/ 2820 h 10000"/>
              <a:gd name="connsiteX37" fmla="*/ 3590 w 10012"/>
              <a:gd name="connsiteY37" fmla="*/ 2500 h 10000"/>
              <a:gd name="connsiteX38" fmla="*/ 3685 w 10012"/>
              <a:gd name="connsiteY38" fmla="*/ 1432 h 10000"/>
              <a:gd name="connsiteX39" fmla="*/ 3754 w 10012"/>
              <a:gd name="connsiteY39" fmla="*/ 1148 h 10000"/>
              <a:gd name="connsiteX40" fmla="*/ 4183 w 10012"/>
              <a:gd name="connsiteY40" fmla="*/ 6721 h 10000"/>
              <a:gd name="connsiteX41" fmla="*/ 4577 w 10012"/>
              <a:gd name="connsiteY41" fmla="*/ 6680 h 10000"/>
              <a:gd name="connsiteX42" fmla="*/ 4958 w 10012"/>
              <a:gd name="connsiteY42" fmla="*/ 737 h 10000"/>
              <a:gd name="connsiteX43" fmla="*/ 5263 w 10012"/>
              <a:gd name="connsiteY43" fmla="*/ 766 h 10000"/>
              <a:gd name="connsiteX44" fmla="*/ 5262 w 10012"/>
              <a:gd name="connsiteY44" fmla="*/ 745 h 10000"/>
              <a:gd name="connsiteX45" fmla="*/ 5778 w 10012"/>
              <a:gd name="connsiteY45" fmla="*/ 1286 h 10000"/>
              <a:gd name="connsiteX46" fmla="*/ 5946 w 10012"/>
              <a:gd name="connsiteY46" fmla="*/ 0 h 10000"/>
              <a:gd name="connsiteX47" fmla="*/ 6493 w 10012"/>
              <a:gd name="connsiteY47" fmla="*/ 111 h 10000"/>
              <a:gd name="connsiteX48" fmla="*/ 6806 w 10012"/>
              <a:gd name="connsiteY48" fmla="*/ 42 h 10000"/>
              <a:gd name="connsiteX49" fmla="*/ 7003 w 10012"/>
              <a:gd name="connsiteY49" fmla="*/ 361 h 10000"/>
              <a:gd name="connsiteX50" fmla="*/ 7321 w 10012"/>
              <a:gd name="connsiteY50" fmla="*/ 6033 h 10000"/>
              <a:gd name="connsiteX51" fmla="*/ 8179 w 10012"/>
              <a:gd name="connsiteY51" fmla="*/ 6020 h 10000"/>
              <a:gd name="connsiteX52" fmla="*/ 8378 w 10012"/>
              <a:gd name="connsiteY52" fmla="*/ 4920 h 10000"/>
              <a:gd name="connsiteX53" fmla="*/ 8509 w 10012"/>
              <a:gd name="connsiteY53" fmla="*/ 5527 h 10000"/>
              <a:gd name="connsiteX54" fmla="*/ 8594 w 10012"/>
              <a:gd name="connsiteY54" fmla="*/ 4983 h 10000"/>
              <a:gd name="connsiteX55" fmla="*/ 8659 w 10012"/>
              <a:gd name="connsiteY55" fmla="*/ 7656 h 10000"/>
              <a:gd name="connsiteX56" fmla="*/ 8726 w 10012"/>
              <a:gd name="connsiteY56" fmla="*/ 6573 h 10000"/>
              <a:gd name="connsiteX57" fmla="*/ 8822 w 10012"/>
              <a:gd name="connsiteY57" fmla="*/ 7792 h 10000"/>
              <a:gd name="connsiteX58" fmla="*/ 8875 w 10012"/>
              <a:gd name="connsiteY58" fmla="*/ 7573 h 10000"/>
              <a:gd name="connsiteX59" fmla="*/ 8901 w 10012"/>
              <a:gd name="connsiteY59" fmla="*/ 7948 h 10000"/>
              <a:gd name="connsiteX60" fmla="*/ 8998 w 10012"/>
              <a:gd name="connsiteY60" fmla="*/ 7961 h 10000"/>
              <a:gd name="connsiteX61" fmla="*/ 9004 w 10012"/>
              <a:gd name="connsiteY61" fmla="*/ 7688 h 10000"/>
              <a:gd name="connsiteX62" fmla="*/ 9117 w 10012"/>
              <a:gd name="connsiteY62" fmla="*/ 7907 h 10000"/>
              <a:gd name="connsiteX63" fmla="*/ 9180 w 10012"/>
              <a:gd name="connsiteY63" fmla="*/ 7811 h 10000"/>
              <a:gd name="connsiteX64" fmla="*/ 9205 w 10012"/>
              <a:gd name="connsiteY64" fmla="*/ 7352 h 10000"/>
              <a:gd name="connsiteX65" fmla="*/ 9240 w 10012"/>
              <a:gd name="connsiteY65" fmla="*/ 7794 h 10000"/>
              <a:gd name="connsiteX66" fmla="*/ 9319 w 10012"/>
              <a:gd name="connsiteY66" fmla="*/ 7565 h 10000"/>
              <a:gd name="connsiteX67" fmla="*/ 9433 w 10012"/>
              <a:gd name="connsiteY67" fmla="*/ 7687 h 10000"/>
              <a:gd name="connsiteX68" fmla="*/ 9493 w 10012"/>
              <a:gd name="connsiteY68" fmla="*/ 7948 h 10000"/>
              <a:gd name="connsiteX69" fmla="*/ 9527 w 10012"/>
              <a:gd name="connsiteY69" fmla="*/ 7710 h 10000"/>
              <a:gd name="connsiteX70" fmla="*/ 9586 w 10012"/>
              <a:gd name="connsiteY70" fmla="*/ 7913 h 10000"/>
              <a:gd name="connsiteX71" fmla="*/ 9627 w 10012"/>
              <a:gd name="connsiteY71" fmla="*/ 7220 h 10000"/>
              <a:gd name="connsiteX72" fmla="*/ 9733 w 10012"/>
              <a:gd name="connsiteY72" fmla="*/ 7889 h 10000"/>
              <a:gd name="connsiteX73" fmla="*/ 9846 w 10012"/>
              <a:gd name="connsiteY73" fmla="*/ 7547 h 10000"/>
              <a:gd name="connsiteX74" fmla="*/ 9848 w 10012"/>
              <a:gd name="connsiteY74" fmla="*/ 7270 h 10000"/>
              <a:gd name="connsiteX75" fmla="*/ 9934 w 10012"/>
              <a:gd name="connsiteY75" fmla="*/ 7580 h 10000"/>
              <a:gd name="connsiteX76" fmla="*/ 10012 w 10012"/>
              <a:gd name="connsiteY76" fmla="*/ 7423 h 10000"/>
              <a:gd name="connsiteX0" fmla="*/ 229 w 10241"/>
              <a:gd name="connsiteY0" fmla="*/ 10000 h 10000"/>
              <a:gd name="connsiteX1" fmla="*/ 4 w 10241"/>
              <a:gd name="connsiteY1" fmla="*/ 6066 h 10000"/>
              <a:gd name="connsiteX2" fmla="*/ 820 w 10241"/>
              <a:gd name="connsiteY2" fmla="*/ 1592 h 10000"/>
              <a:gd name="connsiteX3" fmla="*/ 1069 w 10241"/>
              <a:gd name="connsiteY3" fmla="*/ 1570 h 10000"/>
              <a:gd name="connsiteX4" fmla="*/ 1177 w 10241"/>
              <a:gd name="connsiteY4" fmla="*/ 2515 h 10000"/>
              <a:gd name="connsiteX5" fmla="*/ 1236 w 10241"/>
              <a:gd name="connsiteY5" fmla="*/ 1570 h 10000"/>
              <a:gd name="connsiteX6" fmla="*/ 1291 w 10241"/>
              <a:gd name="connsiteY6" fmla="*/ 1839 h 10000"/>
              <a:gd name="connsiteX7" fmla="*/ 1332 w 10241"/>
              <a:gd name="connsiteY7" fmla="*/ 1480 h 10000"/>
              <a:gd name="connsiteX8" fmla="*/ 1381 w 10241"/>
              <a:gd name="connsiteY8" fmla="*/ 2564 h 10000"/>
              <a:gd name="connsiteX9" fmla="*/ 1457 w 10241"/>
              <a:gd name="connsiteY9" fmla="*/ 1301 h 10000"/>
              <a:gd name="connsiteX10" fmla="*/ 1461 w 10241"/>
              <a:gd name="connsiteY10" fmla="*/ 2308 h 10000"/>
              <a:gd name="connsiteX11" fmla="*/ 1523 w 10241"/>
              <a:gd name="connsiteY11" fmla="*/ 2661 h 10000"/>
              <a:gd name="connsiteX12" fmla="*/ 1571 w 10241"/>
              <a:gd name="connsiteY12" fmla="*/ 2446 h 10000"/>
              <a:gd name="connsiteX13" fmla="*/ 1596 w 10241"/>
              <a:gd name="connsiteY13" fmla="*/ 1750 h 10000"/>
              <a:gd name="connsiteX14" fmla="*/ 1689 w 10241"/>
              <a:gd name="connsiteY14" fmla="*/ 2661 h 10000"/>
              <a:gd name="connsiteX15" fmla="*/ 1766 w 10241"/>
              <a:gd name="connsiteY15" fmla="*/ 2291 h 10000"/>
              <a:gd name="connsiteX16" fmla="*/ 1804 w 10241"/>
              <a:gd name="connsiteY16" fmla="*/ 1121 h 10000"/>
              <a:gd name="connsiteX17" fmla="*/ 1830 w 10241"/>
              <a:gd name="connsiteY17" fmla="*/ 2426 h 10000"/>
              <a:gd name="connsiteX18" fmla="*/ 1858 w 10241"/>
              <a:gd name="connsiteY18" fmla="*/ 2109 h 10000"/>
              <a:gd name="connsiteX19" fmla="*/ 1869 w 10241"/>
              <a:gd name="connsiteY19" fmla="*/ 2333 h 10000"/>
              <a:gd name="connsiteX20" fmla="*/ 1928 w 10241"/>
              <a:gd name="connsiteY20" fmla="*/ 1792 h 10000"/>
              <a:gd name="connsiteX21" fmla="*/ 2025 w 10241"/>
              <a:gd name="connsiteY21" fmla="*/ 2373 h 10000"/>
              <a:gd name="connsiteX22" fmla="*/ 2020 w 10241"/>
              <a:gd name="connsiteY22" fmla="*/ 2920 h 10000"/>
              <a:gd name="connsiteX23" fmla="*/ 2083 w 10241"/>
              <a:gd name="connsiteY23" fmla="*/ 3268 h 10000"/>
              <a:gd name="connsiteX24" fmla="*/ 2121 w 10241"/>
              <a:gd name="connsiteY24" fmla="*/ 2690 h 10000"/>
              <a:gd name="connsiteX25" fmla="*/ 2169 w 10241"/>
              <a:gd name="connsiteY25" fmla="*/ 3319 h 10000"/>
              <a:gd name="connsiteX26" fmla="*/ 2260 w 10241"/>
              <a:gd name="connsiteY26" fmla="*/ 1480 h 10000"/>
              <a:gd name="connsiteX27" fmla="*/ 2326 w 10241"/>
              <a:gd name="connsiteY27" fmla="*/ 3547 h 10000"/>
              <a:gd name="connsiteX28" fmla="*/ 2453 w 10241"/>
              <a:gd name="connsiteY28" fmla="*/ 2510 h 10000"/>
              <a:gd name="connsiteX29" fmla="*/ 2466 w 10241"/>
              <a:gd name="connsiteY29" fmla="*/ 1972 h 10000"/>
              <a:gd name="connsiteX30" fmla="*/ 2545 w 10241"/>
              <a:gd name="connsiteY30" fmla="*/ 2750 h 10000"/>
              <a:gd name="connsiteX31" fmla="*/ 2605 w 10241"/>
              <a:gd name="connsiteY31" fmla="*/ 2241 h 10000"/>
              <a:gd name="connsiteX32" fmla="*/ 2660 w 10241"/>
              <a:gd name="connsiteY32" fmla="*/ 2151 h 10000"/>
              <a:gd name="connsiteX33" fmla="*/ 2758 w 10241"/>
              <a:gd name="connsiteY33" fmla="*/ 1570 h 10000"/>
              <a:gd name="connsiteX34" fmla="*/ 2915 w 10241"/>
              <a:gd name="connsiteY34" fmla="*/ 1495 h 10000"/>
              <a:gd name="connsiteX35" fmla="*/ 3353 w 10241"/>
              <a:gd name="connsiteY35" fmla="*/ 1791 h 10000"/>
              <a:gd name="connsiteX36" fmla="*/ 3456 w 10241"/>
              <a:gd name="connsiteY36" fmla="*/ 2820 h 10000"/>
              <a:gd name="connsiteX37" fmla="*/ 3819 w 10241"/>
              <a:gd name="connsiteY37" fmla="*/ 2500 h 10000"/>
              <a:gd name="connsiteX38" fmla="*/ 3914 w 10241"/>
              <a:gd name="connsiteY38" fmla="*/ 1432 h 10000"/>
              <a:gd name="connsiteX39" fmla="*/ 3983 w 10241"/>
              <a:gd name="connsiteY39" fmla="*/ 1148 h 10000"/>
              <a:gd name="connsiteX40" fmla="*/ 4412 w 10241"/>
              <a:gd name="connsiteY40" fmla="*/ 6721 h 10000"/>
              <a:gd name="connsiteX41" fmla="*/ 4806 w 10241"/>
              <a:gd name="connsiteY41" fmla="*/ 6680 h 10000"/>
              <a:gd name="connsiteX42" fmla="*/ 5187 w 10241"/>
              <a:gd name="connsiteY42" fmla="*/ 737 h 10000"/>
              <a:gd name="connsiteX43" fmla="*/ 5492 w 10241"/>
              <a:gd name="connsiteY43" fmla="*/ 766 h 10000"/>
              <a:gd name="connsiteX44" fmla="*/ 5491 w 10241"/>
              <a:gd name="connsiteY44" fmla="*/ 745 h 10000"/>
              <a:gd name="connsiteX45" fmla="*/ 6007 w 10241"/>
              <a:gd name="connsiteY45" fmla="*/ 1286 h 10000"/>
              <a:gd name="connsiteX46" fmla="*/ 6175 w 10241"/>
              <a:gd name="connsiteY46" fmla="*/ 0 h 10000"/>
              <a:gd name="connsiteX47" fmla="*/ 6722 w 10241"/>
              <a:gd name="connsiteY47" fmla="*/ 111 h 10000"/>
              <a:gd name="connsiteX48" fmla="*/ 7035 w 10241"/>
              <a:gd name="connsiteY48" fmla="*/ 42 h 10000"/>
              <a:gd name="connsiteX49" fmla="*/ 7232 w 10241"/>
              <a:gd name="connsiteY49" fmla="*/ 361 h 10000"/>
              <a:gd name="connsiteX50" fmla="*/ 7550 w 10241"/>
              <a:gd name="connsiteY50" fmla="*/ 6033 h 10000"/>
              <a:gd name="connsiteX51" fmla="*/ 8408 w 10241"/>
              <a:gd name="connsiteY51" fmla="*/ 6020 h 10000"/>
              <a:gd name="connsiteX52" fmla="*/ 8607 w 10241"/>
              <a:gd name="connsiteY52" fmla="*/ 4920 h 10000"/>
              <a:gd name="connsiteX53" fmla="*/ 8738 w 10241"/>
              <a:gd name="connsiteY53" fmla="*/ 5527 h 10000"/>
              <a:gd name="connsiteX54" fmla="*/ 8823 w 10241"/>
              <a:gd name="connsiteY54" fmla="*/ 4983 h 10000"/>
              <a:gd name="connsiteX55" fmla="*/ 8888 w 10241"/>
              <a:gd name="connsiteY55" fmla="*/ 7656 h 10000"/>
              <a:gd name="connsiteX56" fmla="*/ 8955 w 10241"/>
              <a:gd name="connsiteY56" fmla="*/ 6573 h 10000"/>
              <a:gd name="connsiteX57" fmla="*/ 9051 w 10241"/>
              <a:gd name="connsiteY57" fmla="*/ 7792 h 10000"/>
              <a:gd name="connsiteX58" fmla="*/ 9104 w 10241"/>
              <a:gd name="connsiteY58" fmla="*/ 7573 h 10000"/>
              <a:gd name="connsiteX59" fmla="*/ 9130 w 10241"/>
              <a:gd name="connsiteY59" fmla="*/ 7948 h 10000"/>
              <a:gd name="connsiteX60" fmla="*/ 9227 w 10241"/>
              <a:gd name="connsiteY60" fmla="*/ 7961 h 10000"/>
              <a:gd name="connsiteX61" fmla="*/ 9233 w 10241"/>
              <a:gd name="connsiteY61" fmla="*/ 7688 h 10000"/>
              <a:gd name="connsiteX62" fmla="*/ 9346 w 10241"/>
              <a:gd name="connsiteY62" fmla="*/ 7907 h 10000"/>
              <a:gd name="connsiteX63" fmla="*/ 9409 w 10241"/>
              <a:gd name="connsiteY63" fmla="*/ 7811 h 10000"/>
              <a:gd name="connsiteX64" fmla="*/ 9434 w 10241"/>
              <a:gd name="connsiteY64" fmla="*/ 7352 h 10000"/>
              <a:gd name="connsiteX65" fmla="*/ 9469 w 10241"/>
              <a:gd name="connsiteY65" fmla="*/ 7794 h 10000"/>
              <a:gd name="connsiteX66" fmla="*/ 9548 w 10241"/>
              <a:gd name="connsiteY66" fmla="*/ 7565 h 10000"/>
              <a:gd name="connsiteX67" fmla="*/ 9662 w 10241"/>
              <a:gd name="connsiteY67" fmla="*/ 7687 h 10000"/>
              <a:gd name="connsiteX68" fmla="*/ 9722 w 10241"/>
              <a:gd name="connsiteY68" fmla="*/ 7948 h 10000"/>
              <a:gd name="connsiteX69" fmla="*/ 9756 w 10241"/>
              <a:gd name="connsiteY69" fmla="*/ 7710 h 10000"/>
              <a:gd name="connsiteX70" fmla="*/ 9815 w 10241"/>
              <a:gd name="connsiteY70" fmla="*/ 7913 h 10000"/>
              <a:gd name="connsiteX71" fmla="*/ 9856 w 10241"/>
              <a:gd name="connsiteY71" fmla="*/ 7220 h 10000"/>
              <a:gd name="connsiteX72" fmla="*/ 9962 w 10241"/>
              <a:gd name="connsiteY72" fmla="*/ 7889 h 10000"/>
              <a:gd name="connsiteX73" fmla="*/ 10075 w 10241"/>
              <a:gd name="connsiteY73" fmla="*/ 7547 h 10000"/>
              <a:gd name="connsiteX74" fmla="*/ 10077 w 10241"/>
              <a:gd name="connsiteY74" fmla="*/ 7270 h 10000"/>
              <a:gd name="connsiteX75" fmla="*/ 10163 w 10241"/>
              <a:gd name="connsiteY75" fmla="*/ 7580 h 10000"/>
              <a:gd name="connsiteX76" fmla="*/ 10241 w 10241"/>
              <a:gd name="connsiteY76" fmla="*/ 7423 h 10000"/>
              <a:gd name="connsiteX0" fmla="*/ 0 w 10254"/>
              <a:gd name="connsiteY0" fmla="*/ 9972 h 9972"/>
              <a:gd name="connsiteX1" fmla="*/ 17 w 10254"/>
              <a:gd name="connsiteY1" fmla="*/ 6066 h 9972"/>
              <a:gd name="connsiteX2" fmla="*/ 833 w 10254"/>
              <a:gd name="connsiteY2" fmla="*/ 1592 h 9972"/>
              <a:gd name="connsiteX3" fmla="*/ 1082 w 10254"/>
              <a:gd name="connsiteY3" fmla="*/ 1570 h 9972"/>
              <a:gd name="connsiteX4" fmla="*/ 1190 w 10254"/>
              <a:gd name="connsiteY4" fmla="*/ 2515 h 9972"/>
              <a:gd name="connsiteX5" fmla="*/ 1249 w 10254"/>
              <a:gd name="connsiteY5" fmla="*/ 1570 h 9972"/>
              <a:gd name="connsiteX6" fmla="*/ 1304 w 10254"/>
              <a:gd name="connsiteY6" fmla="*/ 1839 h 9972"/>
              <a:gd name="connsiteX7" fmla="*/ 1345 w 10254"/>
              <a:gd name="connsiteY7" fmla="*/ 1480 h 9972"/>
              <a:gd name="connsiteX8" fmla="*/ 1394 w 10254"/>
              <a:gd name="connsiteY8" fmla="*/ 2564 h 9972"/>
              <a:gd name="connsiteX9" fmla="*/ 1470 w 10254"/>
              <a:gd name="connsiteY9" fmla="*/ 1301 h 9972"/>
              <a:gd name="connsiteX10" fmla="*/ 1474 w 10254"/>
              <a:gd name="connsiteY10" fmla="*/ 2308 h 9972"/>
              <a:gd name="connsiteX11" fmla="*/ 1536 w 10254"/>
              <a:gd name="connsiteY11" fmla="*/ 2661 h 9972"/>
              <a:gd name="connsiteX12" fmla="*/ 1584 w 10254"/>
              <a:gd name="connsiteY12" fmla="*/ 2446 h 9972"/>
              <a:gd name="connsiteX13" fmla="*/ 1609 w 10254"/>
              <a:gd name="connsiteY13" fmla="*/ 1750 h 9972"/>
              <a:gd name="connsiteX14" fmla="*/ 1702 w 10254"/>
              <a:gd name="connsiteY14" fmla="*/ 2661 h 9972"/>
              <a:gd name="connsiteX15" fmla="*/ 1779 w 10254"/>
              <a:gd name="connsiteY15" fmla="*/ 2291 h 9972"/>
              <a:gd name="connsiteX16" fmla="*/ 1817 w 10254"/>
              <a:gd name="connsiteY16" fmla="*/ 1121 h 9972"/>
              <a:gd name="connsiteX17" fmla="*/ 1843 w 10254"/>
              <a:gd name="connsiteY17" fmla="*/ 2426 h 9972"/>
              <a:gd name="connsiteX18" fmla="*/ 1871 w 10254"/>
              <a:gd name="connsiteY18" fmla="*/ 2109 h 9972"/>
              <a:gd name="connsiteX19" fmla="*/ 1882 w 10254"/>
              <a:gd name="connsiteY19" fmla="*/ 2333 h 9972"/>
              <a:gd name="connsiteX20" fmla="*/ 1941 w 10254"/>
              <a:gd name="connsiteY20" fmla="*/ 1792 h 9972"/>
              <a:gd name="connsiteX21" fmla="*/ 2038 w 10254"/>
              <a:gd name="connsiteY21" fmla="*/ 2373 h 9972"/>
              <a:gd name="connsiteX22" fmla="*/ 2033 w 10254"/>
              <a:gd name="connsiteY22" fmla="*/ 2920 h 9972"/>
              <a:gd name="connsiteX23" fmla="*/ 2096 w 10254"/>
              <a:gd name="connsiteY23" fmla="*/ 3268 h 9972"/>
              <a:gd name="connsiteX24" fmla="*/ 2134 w 10254"/>
              <a:gd name="connsiteY24" fmla="*/ 2690 h 9972"/>
              <a:gd name="connsiteX25" fmla="*/ 2182 w 10254"/>
              <a:gd name="connsiteY25" fmla="*/ 3319 h 9972"/>
              <a:gd name="connsiteX26" fmla="*/ 2273 w 10254"/>
              <a:gd name="connsiteY26" fmla="*/ 1480 h 9972"/>
              <a:gd name="connsiteX27" fmla="*/ 2339 w 10254"/>
              <a:gd name="connsiteY27" fmla="*/ 3547 h 9972"/>
              <a:gd name="connsiteX28" fmla="*/ 2466 w 10254"/>
              <a:gd name="connsiteY28" fmla="*/ 2510 h 9972"/>
              <a:gd name="connsiteX29" fmla="*/ 2479 w 10254"/>
              <a:gd name="connsiteY29" fmla="*/ 1972 h 9972"/>
              <a:gd name="connsiteX30" fmla="*/ 2558 w 10254"/>
              <a:gd name="connsiteY30" fmla="*/ 2750 h 9972"/>
              <a:gd name="connsiteX31" fmla="*/ 2618 w 10254"/>
              <a:gd name="connsiteY31" fmla="*/ 2241 h 9972"/>
              <a:gd name="connsiteX32" fmla="*/ 2673 w 10254"/>
              <a:gd name="connsiteY32" fmla="*/ 2151 h 9972"/>
              <a:gd name="connsiteX33" fmla="*/ 2771 w 10254"/>
              <a:gd name="connsiteY33" fmla="*/ 1570 h 9972"/>
              <a:gd name="connsiteX34" fmla="*/ 2928 w 10254"/>
              <a:gd name="connsiteY34" fmla="*/ 1495 h 9972"/>
              <a:gd name="connsiteX35" fmla="*/ 3366 w 10254"/>
              <a:gd name="connsiteY35" fmla="*/ 1791 h 9972"/>
              <a:gd name="connsiteX36" fmla="*/ 3469 w 10254"/>
              <a:gd name="connsiteY36" fmla="*/ 2820 h 9972"/>
              <a:gd name="connsiteX37" fmla="*/ 3832 w 10254"/>
              <a:gd name="connsiteY37" fmla="*/ 2500 h 9972"/>
              <a:gd name="connsiteX38" fmla="*/ 3927 w 10254"/>
              <a:gd name="connsiteY38" fmla="*/ 1432 h 9972"/>
              <a:gd name="connsiteX39" fmla="*/ 3996 w 10254"/>
              <a:gd name="connsiteY39" fmla="*/ 1148 h 9972"/>
              <a:gd name="connsiteX40" fmla="*/ 4425 w 10254"/>
              <a:gd name="connsiteY40" fmla="*/ 6721 h 9972"/>
              <a:gd name="connsiteX41" fmla="*/ 4819 w 10254"/>
              <a:gd name="connsiteY41" fmla="*/ 6680 h 9972"/>
              <a:gd name="connsiteX42" fmla="*/ 5200 w 10254"/>
              <a:gd name="connsiteY42" fmla="*/ 737 h 9972"/>
              <a:gd name="connsiteX43" fmla="*/ 5505 w 10254"/>
              <a:gd name="connsiteY43" fmla="*/ 766 h 9972"/>
              <a:gd name="connsiteX44" fmla="*/ 5504 w 10254"/>
              <a:gd name="connsiteY44" fmla="*/ 745 h 9972"/>
              <a:gd name="connsiteX45" fmla="*/ 6020 w 10254"/>
              <a:gd name="connsiteY45" fmla="*/ 1286 h 9972"/>
              <a:gd name="connsiteX46" fmla="*/ 6188 w 10254"/>
              <a:gd name="connsiteY46" fmla="*/ 0 h 9972"/>
              <a:gd name="connsiteX47" fmla="*/ 6735 w 10254"/>
              <a:gd name="connsiteY47" fmla="*/ 111 h 9972"/>
              <a:gd name="connsiteX48" fmla="*/ 7048 w 10254"/>
              <a:gd name="connsiteY48" fmla="*/ 42 h 9972"/>
              <a:gd name="connsiteX49" fmla="*/ 7245 w 10254"/>
              <a:gd name="connsiteY49" fmla="*/ 361 h 9972"/>
              <a:gd name="connsiteX50" fmla="*/ 7563 w 10254"/>
              <a:gd name="connsiteY50" fmla="*/ 6033 h 9972"/>
              <a:gd name="connsiteX51" fmla="*/ 8421 w 10254"/>
              <a:gd name="connsiteY51" fmla="*/ 6020 h 9972"/>
              <a:gd name="connsiteX52" fmla="*/ 8620 w 10254"/>
              <a:gd name="connsiteY52" fmla="*/ 4920 h 9972"/>
              <a:gd name="connsiteX53" fmla="*/ 8751 w 10254"/>
              <a:gd name="connsiteY53" fmla="*/ 5527 h 9972"/>
              <a:gd name="connsiteX54" fmla="*/ 8836 w 10254"/>
              <a:gd name="connsiteY54" fmla="*/ 4983 h 9972"/>
              <a:gd name="connsiteX55" fmla="*/ 8901 w 10254"/>
              <a:gd name="connsiteY55" fmla="*/ 7656 h 9972"/>
              <a:gd name="connsiteX56" fmla="*/ 8968 w 10254"/>
              <a:gd name="connsiteY56" fmla="*/ 6573 h 9972"/>
              <a:gd name="connsiteX57" fmla="*/ 9064 w 10254"/>
              <a:gd name="connsiteY57" fmla="*/ 7792 h 9972"/>
              <a:gd name="connsiteX58" fmla="*/ 9117 w 10254"/>
              <a:gd name="connsiteY58" fmla="*/ 7573 h 9972"/>
              <a:gd name="connsiteX59" fmla="*/ 9143 w 10254"/>
              <a:gd name="connsiteY59" fmla="*/ 7948 h 9972"/>
              <a:gd name="connsiteX60" fmla="*/ 9240 w 10254"/>
              <a:gd name="connsiteY60" fmla="*/ 7961 h 9972"/>
              <a:gd name="connsiteX61" fmla="*/ 9246 w 10254"/>
              <a:gd name="connsiteY61" fmla="*/ 7688 h 9972"/>
              <a:gd name="connsiteX62" fmla="*/ 9359 w 10254"/>
              <a:gd name="connsiteY62" fmla="*/ 7907 h 9972"/>
              <a:gd name="connsiteX63" fmla="*/ 9422 w 10254"/>
              <a:gd name="connsiteY63" fmla="*/ 7811 h 9972"/>
              <a:gd name="connsiteX64" fmla="*/ 9447 w 10254"/>
              <a:gd name="connsiteY64" fmla="*/ 7352 h 9972"/>
              <a:gd name="connsiteX65" fmla="*/ 9482 w 10254"/>
              <a:gd name="connsiteY65" fmla="*/ 7794 h 9972"/>
              <a:gd name="connsiteX66" fmla="*/ 9561 w 10254"/>
              <a:gd name="connsiteY66" fmla="*/ 7565 h 9972"/>
              <a:gd name="connsiteX67" fmla="*/ 9675 w 10254"/>
              <a:gd name="connsiteY67" fmla="*/ 7687 h 9972"/>
              <a:gd name="connsiteX68" fmla="*/ 9735 w 10254"/>
              <a:gd name="connsiteY68" fmla="*/ 7948 h 9972"/>
              <a:gd name="connsiteX69" fmla="*/ 9769 w 10254"/>
              <a:gd name="connsiteY69" fmla="*/ 7710 h 9972"/>
              <a:gd name="connsiteX70" fmla="*/ 9828 w 10254"/>
              <a:gd name="connsiteY70" fmla="*/ 7913 h 9972"/>
              <a:gd name="connsiteX71" fmla="*/ 9869 w 10254"/>
              <a:gd name="connsiteY71" fmla="*/ 7220 h 9972"/>
              <a:gd name="connsiteX72" fmla="*/ 9975 w 10254"/>
              <a:gd name="connsiteY72" fmla="*/ 7889 h 9972"/>
              <a:gd name="connsiteX73" fmla="*/ 10088 w 10254"/>
              <a:gd name="connsiteY73" fmla="*/ 7547 h 9972"/>
              <a:gd name="connsiteX74" fmla="*/ 10090 w 10254"/>
              <a:gd name="connsiteY74" fmla="*/ 7270 h 9972"/>
              <a:gd name="connsiteX75" fmla="*/ 10176 w 10254"/>
              <a:gd name="connsiteY75" fmla="*/ 7580 h 9972"/>
              <a:gd name="connsiteX76" fmla="*/ 10254 w 10254"/>
              <a:gd name="connsiteY76" fmla="*/ 7423 h 9972"/>
              <a:gd name="connsiteX0" fmla="*/ 0 w 10000"/>
              <a:gd name="connsiteY0" fmla="*/ 10000 h 10000"/>
              <a:gd name="connsiteX1" fmla="*/ 17 w 10000"/>
              <a:gd name="connsiteY1" fmla="*/ 6083 h 10000"/>
              <a:gd name="connsiteX2" fmla="*/ 812 w 10000"/>
              <a:gd name="connsiteY2" fmla="*/ 1596 h 10000"/>
              <a:gd name="connsiteX3" fmla="*/ 1055 w 10000"/>
              <a:gd name="connsiteY3" fmla="*/ 1574 h 10000"/>
              <a:gd name="connsiteX4" fmla="*/ 1161 w 10000"/>
              <a:gd name="connsiteY4" fmla="*/ 2522 h 10000"/>
              <a:gd name="connsiteX5" fmla="*/ 1218 w 10000"/>
              <a:gd name="connsiteY5" fmla="*/ 1574 h 10000"/>
              <a:gd name="connsiteX6" fmla="*/ 1272 w 10000"/>
              <a:gd name="connsiteY6" fmla="*/ 1844 h 10000"/>
              <a:gd name="connsiteX7" fmla="*/ 1312 w 10000"/>
              <a:gd name="connsiteY7" fmla="*/ 1484 h 10000"/>
              <a:gd name="connsiteX8" fmla="*/ 1359 w 10000"/>
              <a:gd name="connsiteY8" fmla="*/ 2571 h 10000"/>
              <a:gd name="connsiteX9" fmla="*/ 1434 w 10000"/>
              <a:gd name="connsiteY9" fmla="*/ 1305 h 10000"/>
              <a:gd name="connsiteX10" fmla="*/ 1437 w 10000"/>
              <a:gd name="connsiteY10" fmla="*/ 2314 h 10000"/>
              <a:gd name="connsiteX11" fmla="*/ 1498 w 10000"/>
              <a:gd name="connsiteY11" fmla="*/ 2668 h 10000"/>
              <a:gd name="connsiteX12" fmla="*/ 1545 w 10000"/>
              <a:gd name="connsiteY12" fmla="*/ 2453 h 10000"/>
              <a:gd name="connsiteX13" fmla="*/ 1569 w 10000"/>
              <a:gd name="connsiteY13" fmla="*/ 1755 h 10000"/>
              <a:gd name="connsiteX14" fmla="*/ 1660 w 10000"/>
              <a:gd name="connsiteY14" fmla="*/ 2668 h 10000"/>
              <a:gd name="connsiteX15" fmla="*/ 1735 w 10000"/>
              <a:gd name="connsiteY15" fmla="*/ 2297 h 10000"/>
              <a:gd name="connsiteX16" fmla="*/ 1772 w 10000"/>
              <a:gd name="connsiteY16" fmla="*/ 1124 h 10000"/>
              <a:gd name="connsiteX17" fmla="*/ 1797 w 10000"/>
              <a:gd name="connsiteY17" fmla="*/ 2433 h 10000"/>
              <a:gd name="connsiteX18" fmla="*/ 1825 w 10000"/>
              <a:gd name="connsiteY18" fmla="*/ 2115 h 10000"/>
              <a:gd name="connsiteX19" fmla="*/ 1835 w 10000"/>
              <a:gd name="connsiteY19" fmla="*/ 2340 h 10000"/>
              <a:gd name="connsiteX20" fmla="*/ 1893 w 10000"/>
              <a:gd name="connsiteY20" fmla="*/ 1797 h 10000"/>
              <a:gd name="connsiteX21" fmla="*/ 1988 w 10000"/>
              <a:gd name="connsiteY21" fmla="*/ 2380 h 10000"/>
              <a:gd name="connsiteX22" fmla="*/ 1983 w 10000"/>
              <a:gd name="connsiteY22" fmla="*/ 2928 h 10000"/>
              <a:gd name="connsiteX23" fmla="*/ 2044 w 10000"/>
              <a:gd name="connsiteY23" fmla="*/ 3277 h 10000"/>
              <a:gd name="connsiteX24" fmla="*/ 2081 w 10000"/>
              <a:gd name="connsiteY24" fmla="*/ 2698 h 10000"/>
              <a:gd name="connsiteX25" fmla="*/ 2128 w 10000"/>
              <a:gd name="connsiteY25" fmla="*/ 3328 h 10000"/>
              <a:gd name="connsiteX26" fmla="*/ 2217 w 10000"/>
              <a:gd name="connsiteY26" fmla="*/ 1484 h 10000"/>
              <a:gd name="connsiteX27" fmla="*/ 2281 w 10000"/>
              <a:gd name="connsiteY27" fmla="*/ 3557 h 10000"/>
              <a:gd name="connsiteX28" fmla="*/ 2405 w 10000"/>
              <a:gd name="connsiteY28" fmla="*/ 2517 h 10000"/>
              <a:gd name="connsiteX29" fmla="*/ 2418 w 10000"/>
              <a:gd name="connsiteY29" fmla="*/ 1978 h 10000"/>
              <a:gd name="connsiteX30" fmla="*/ 2495 w 10000"/>
              <a:gd name="connsiteY30" fmla="*/ 2758 h 10000"/>
              <a:gd name="connsiteX31" fmla="*/ 2553 w 10000"/>
              <a:gd name="connsiteY31" fmla="*/ 2247 h 10000"/>
              <a:gd name="connsiteX32" fmla="*/ 2607 w 10000"/>
              <a:gd name="connsiteY32" fmla="*/ 2157 h 10000"/>
              <a:gd name="connsiteX33" fmla="*/ 2702 w 10000"/>
              <a:gd name="connsiteY33" fmla="*/ 1574 h 10000"/>
              <a:gd name="connsiteX34" fmla="*/ 2855 w 10000"/>
              <a:gd name="connsiteY34" fmla="*/ 1499 h 10000"/>
              <a:gd name="connsiteX35" fmla="*/ 3283 w 10000"/>
              <a:gd name="connsiteY35" fmla="*/ 1796 h 10000"/>
              <a:gd name="connsiteX36" fmla="*/ 3383 w 10000"/>
              <a:gd name="connsiteY36" fmla="*/ 2828 h 10000"/>
              <a:gd name="connsiteX37" fmla="*/ 3737 w 10000"/>
              <a:gd name="connsiteY37" fmla="*/ 2507 h 10000"/>
              <a:gd name="connsiteX38" fmla="*/ 3830 w 10000"/>
              <a:gd name="connsiteY38" fmla="*/ 1436 h 10000"/>
              <a:gd name="connsiteX39" fmla="*/ 3897 w 10000"/>
              <a:gd name="connsiteY39" fmla="*/ 1151 h 10000"/>
              <a:gd name="connsiteX40" fmla="*/ 4315 w 10000"/>
              <a:gd name="connsiteY40" fmla="*/ 6740 h 10000"/>
              <a:gd name="connsiteX41" fmla="*/ 4700 w 10000"/>
              <a:gd name="connsiteY41" fmla="*/ 6699 h 10000"/>
              <a:gd name="connsiteX42" fmla="*/ 5071 w 10000"/>
              <a:gd name="connsiteY42" fmla="*/ 739 h 10000"/>
              <a:gd name="connsiteX43" fmla="*/ 5369 w 10000"/>
              <a:gd name="connsiteY43" fmla="*/ 768 h 10000"/>
              <a:gd name="connsiteX44" fmla="*/ 5368 w 10000"/>
              <a:gd name="connsiteY44" fmla="*/ 747 h 10000"/>
              <a:gd name="connsiteX45" fmla="*/ 5871 w 10000"/>
              <a:gd name="connsiteY45" fmla="*/ 1290 h 10000"/>
              <a:gd name="connsiteX46" fmla="*/ 6035 w 10000"/>
              <a:gd name="connsiteY46" fmla="*/ 0 h 10000"/>
              <a:gd name="connsiteX47" fmla="*/ 6568 w 10000"/>
              <a:gd name="connsiteY47" fmla="*/ 111 h 10000"/>
              <a:gd name="connsiteX48" fmla="*/ 6873 w 10000"/>
              <a:gd name="connsiteY48" fmla="*/ 42 h 10000"/>
              <a:gd name="connsiteX49" fmla="*/ 7066 w 10000"/>
              <a:gd name="connsiteY49" fmla="*/ 362 h 10000"/>
              <a:gd name="connsiteX50" fmla="*/ 7376 w 10000"/>
              <a:gd name="connsiteY50" fmla="*/ 6050 h 10000"/>
              <a:gd name="connsiteX51" fmla="*/ 8212 w 10000"/>
              <a:gd name="connsiteY51" fmla="*/ 6037 h 10000"/>
              <a:gd name="connsiteX52" fmla="*/ 8406 w 10000"/>
              <a:gd name="connsiteY52" fmla="*/ 4934 h 10000"/>
              <a:gd name="connsiteX53" fmla="*/ 8534 w 10000"/>
              <a:gd name="connsiteY53" fmla="*/ 5543 h 10000"/>
              <a:gd name="connsiteX54" fmla="*/ 8617 w 10000"/>
              <a:gd name="connsiteY54" fmla="*/ 4997 h 10000"/>
              <a:gd name="connsiteX55" fmla="*/ 8681 w 10000"/>
              <a:gd name="connsiteY55" fmla="*/ 7677 h 10000"/>
              <a:gd name="connsiteX56" fmla="*/ 8746 w 10000"/>
              <a:gd name="connsiteY56" fmla="*/ 6591 h 10000"/>
              <a:gd name="connsiteX57" fmla="*/ 8839 w 10000"/>
              <a:gd name="connsiteY57" fmla="*/ 7814 h 10000"/>
              <a:gd name="connsiteX58" fmla="*/ 8891 w 10000"/>
              <a:gd name="connsiteY58" fmla="*/ 7594 h 10000"/>
              <a:gd name="connsiteX59" fmla="*/ 8917 w 10000"/>
              <a:gd name="connsiteY59" fmla="*/ 7970 h 10000"/>
              <a:gd name="connsiteX60" fmla="*/ 9011 w 10000"/>
              <a:gd name="connsiteY60" fmla="*/ 7983 h 10000"/>
              <a:gd name="connsiteX61" fmla="*/ 9017 w 10000"/>
              <a:gd name="connsiteY61" fmla="*/ 7710 h 10000"/>
              <a:gd name="connsiteX62" fmla="*/ 9127 w 10000"/>
              <a:gd name="connsiteY62" fmla="*/ 7929 h 10000"/>
              <a:gd name="connsiteX63" fmla="*/ 9189 w 10000"/>
              <a:gd name="connsiteY63" fmla="*/ 7833 h 10000"/>
              <a:gd name="connsiteX64" fmla="*/ 9213 w 10000"/>
              <a:gd name="connsiteY64" fmla="*/ 7373 h 10000"/>
              <a:gd name="connsiteX65" fmla="*/ 9247 w 10000"/>
              <a:gd name="connsiteY65" fmla="*/ 7816 h 10000"/>
              <a:gd name="connsiteX66" fmla="*/ 9324 w 10000"/>
              <a:gd name="connsiteY66" fmla="*/ 7586 h 10000"/>
              <a:gd name="connsiteX67" fmla="*/ 9435 w 10000"/>
              <a:gd name="connsiteY67" fmla="*/ 7709 h 10000"/>
              <a:gd name="connsiteX68" fmla="*/ 9494 w 10000"/>
              <a:gd name="connsiteY68" fmla="*/ 7970 h 10000"/>
              <a:gd name="connsiteX69" fmla="*/ 9527 w 10000"/>
              <a:gd name="connsiteY69" fmla="*/ 7732 h 10000"/>
              <a:gd name="connsiteX70" fmla="*/ 9585 w 10000"/>
              <a:gd name="connsiteY70" fmla="*/ 7935 h 10000"/>
              <a:gd name="connsiteX71" fmla="*/ 9625 w 10000"/>
              <a:gd name="connsiteY71" fmla="*/ 7240 h 10000"/>
              <a:gd name="connsiteX72" fmla="*/ 9728 w 10000"/>
              <a:gd name="connsiteY72" fmla="*/ 7911 h 10000"/>
              <a:gd name="connsiteX73" fmla="*/ 9838 w 10000"/>
              <a:gd name="connsiteY73" fmla="*/ 7568 h 10000"/>
              <a:gd name="connsiteX74" fmla="*/ 9840 w 10000"/>
              <a:gd name="connsiteY74" fmla="*/ 7290 h 10000"/>
              <a:gd name="connsiteX75" fmla="*/ 9924 w 10000"/>
              <a:gd name="connsiteY75" fmla="*/ 7601 h 10000"/>
              <a:gd name="connsiteX76" fmla="*/ 10000 w 10000"/>
              <a:gd name="connsiteY76" fmla="*/ 7444 h 10000"/>
              <a:gd name="connsiteX0" fmla="*/ 0 w 10000"/>
              <a:gd name="connsiteY0" fmla="*/ 10000 h 10000"/>
              <a:gd name="connsiteX1" fmla="*/ 17 w 10000"/>
              <a:gd name="connsiteY1" fmla="*/ 6083 h 10000"/>
              <a:gd name="connsiteX2" fmla="*/ 160 w 10000"/>
              <a:gd name="connsiteY2" fmla="*/ 5074 h 10000"/>
              <a:gd name="connsiteX3" fmla="*/ 812 w 10000"/>
              <a:gd name="connsiteY3" fmla="*/ 1596 h 10000"/>
              <a:gd name="connsiteX4" fmla="*/ 1055 w 10000"/>
              <a:gd name="connsiteY4" fmla="*/ 1574 h 10000"/>
              <a:gd name="connsiteX5" fmla="*/ 1161 w 10000"/>
              <a:gd name="connsiteY5" fmla="*/ 2522 h 10000"/>
              <a:gd name="connsiteX6" fmla="*/ 1218 w 10000"/>
              <a:gd name="connsiteY6" fmla="*/ 1574 h 10000"/>
              <a:gd name="connsiteX7" fmla="*/ 1272 w 10000"/>
              <a:gd name="connsiteY7" fmla="*/ 1844 h 10000"/>
              <a:gd name="connsiteX8" fmla="*/ 1312 w 10000"/>
              <a:gd name="connsiteY8" fmla="*/ 1484 h 10000"/>
              <a:gd name="connsiteX9" fmla="*/ 1359 w 10000"/>
              <a:gd name="connsiteY9" fmla="*/ 2571 h 10000"/>
              <a:gd name="connsiteX10" fmla="*/ 1434 w 10000"/>
              <a:gd name="connsiteY10" fmla="*/ 1305 h 10000"/>
              <a:gd name="connsiteX11" fmla="*/ 1437 w 10000"/>
              <a:gd name="connsiteY11" fmla="*/ 2314 h 10000"/>
              <a:gd name="connsiteX12" fmla="*/ 1498 w 10000"/>
              <a:gd name="connsiteY12" fmla="*/ 2668 h 10000"/>
              <a:gd name="connsiteX13" fmla="*/ 1545 w 10000"/>
              <a:gd name="connsiteY13" fmla="*/ 2453 h 10000"/>
              <a:gd name="connsiteX14" fmla="*/ 1569 w 10000"/>
              <a:gd name="connsiteY14" fmla="*/ 1755 h 10000"/>
              <a:gd name="connsiteX15" fmla="*/ 1660 w 10000"/>
              <a:gd name="connsiteY15" fmla="*/ 2668 h 10000"/>
              <a:gd name="connsiteX16" fmla="*/ 1735 w 10000"/>
              <a:gd name="connsiteY16" fmla="*/ 2297 h 10000"/>
              <a:gd name="connsiteX17" fmla="*/ 1772 w 10000"/>
              <a:gd name="connsiteY17" fmla="*/ 1124 h 10000"/>
              <a:gd name="connsiteX18" fmla="*/ 1797 w 10000"/>
              <a:gd name="connsiteY18" fmla="*/ 2433 h 10000"/>
              <a:gd name="connsiteX19" fmla="*/ 1825 w 10000"/>
              <a:gd name="connsiteY19" fmla="*/ 2115 h 10000"/>
              <a:gd name="connsiteX20" fmla="*/ 1835 w 10000"/>
              <a:gd name="connsiteY20" fmla="*/ 2340 h 10000"/>
              <a:gd name="connsiteX21" fmla="*/ 1893 w 10000"/>
              <a:gd name="connsiteY21" fmla="*/ 1797 h 10000"/>
              <a:gd name="connsiteX22" fmla="*/ 1988 w 10000"/>
              <a:gd name="connsiteY22" fmla="*/ 2380 h 10000"/>
              <a:gd name="connsiteX23" fmla="*/ 1983 w 10000"/>
              <a:gd name="connsiteY23" fmla="*/ 2928 h 10000"/>
              <a:gd name="connsiteX24" fmla="*/ 2044 w 10000"/>
              <a:gd name="connsiteY24" fmla="*/ 3277 h 10000"/>
              <a:gd name="connsiteX25" fmla="*/ 2081 w 10000"/>
              <a:gd name="connsiteY25" fmla="*/ 2698 h 10000"/>
              <a:gd name="connsiteX26" fmla="*/ 2128 w 10000"/>
              <a:gd name="connsiteY26" fmla="*/ 3328 h 10000"/>
              <a:gd name="connsiteX27" fmla="*/ 2217 w 10000"/>
              <a:gd name="connsiteY27" fmla="*/ 1484 h 10000"/>
              <a:gd name="connsiteX28" fmla="*/ 2281 w 10000"/>
              <a:gd name="connsiteY28" fmla="*/ 3557 h 10000"/>
              <a:gd name="connsiteX29" fmla="*/ 2405 w 10000"/>
              <a:gd name="connsiteY29" fmla="*/ 2517 h 10000"/>
              <a:gd name="connsiteX30" fmla="*/ 2418 w 10000"/>
              <a:gd name="connsiteY30" fmla="*/ 1978 h 10000"/>
              <a:gd name="connsiteX31" fmla="*/ 2495 w 10000"/>
              <a:gd name="connsiteY31" fmla="*/ 2758 h 10000"/>
              <a:gd name="connsiteX32" fmla="*/ 2553 w 10000"/>
              <a:gd name="connsiteY32" fmla="*/ 2247 h 10000"/>
              <a:gd name="connsiteX33" fmla="*/ 2607 w 10000"/>
              <a:gd name="connsiteY33" fmla="*/ 2157 h 10000"/>
              <a:gd name="connsiteX34" fmla="*/ 2702 w 10000"/>
              <a:gd name="connsiteY34" fmla="*/ 1574 h 10000"/>
              <a:gd name="connsiteX35" fmla="*/ 2855 w 10000"/>
              <a:gd name="connsiteY35" fmla="*/ 1499 h 10000"/>
              <a:gd name="connsiteX36" fmla="*/ 3283 w 10000"/>
              <a:gd name="connsiteY36" fmla="*/ 1796 h 10000"/>
              <a:gd name="connsiteX37" fmla="*/ 3383 w 10000"/>
              <a:gd name="connsiteY37" fmla="*/ 2828 h 10000"/>
              <a:gd name="connsiteX38" fmla="*/ 3737 w 10000"/>
              <a:gd name="connsiteY38" fmla="*/ 2507 h 10000"/>
              <a:gd name="connsiteX39" fmla="*/ 3830 w 10000"/>
              <a:gd name="connsiteY39" fmla="*/ 1436 h 10000"/>
              <a:gd name="connsiteX40" fmla="*/ 3897 w 10000"/>
              <a:gd name="connsiteY40" fmla="*/ 1151 h 10000"/>
              <a:gd name="connsiteX41" fmla="*/ 4315 w 10000"/>
              <a:gd name="connsiteY41" fmla="*/ 6740 h 10000"/>
              <a:gd name="connsiteX42" fmla="*/ 4700 w 10000"/>
              <a:gd name="connsiteY42" fmla="*/ 6699 h 10000"/>
              <a:gd name="connsiteX43" fmla="*/ 5071 w 10000"/>
              <a:gd name="connsiteY43" fmla="*/ 739 h 10000"/>
              <a:gd name="connsiteX44" fmla="*/ 5369 w 10000"/>
              <a:gd name="connsiteY44" fmla="*/ 768 h 10000"/>
              <a:gd name="connsiteX45" fmla="*/ 5368 w 10000"/>
              <a:gd name="connsiteY45" fmla="*/ 747 h 10000"/>
              <a:gd name="connsiteX46" fmla="*/ 5871 w 10000"/>
              <a:gd name="connsiteY46" fmla="*/ 1290 h 10000"/>
              <a:gd name="connsiteX47" fmla="*/ 6035 w 10000"/>
              <a:gd name="connsiteY47" fmla="*/ 0 h 10000"/>
              <a:gd name="connsiteX48" fmla="*/ 6568 w 10000"/>
              <a:gd name="connsiteY48" fmla="*/ 111 h 10000"/>
              <a:gd name="connsiteX49" fmla="*/ 6873 w 10000"/>
              <a:gd name="connsiteY49" fmla="*/ 42 h 10000"/>
              <a:gd name="connsiteX50" fmla="*/ 7066 w 10000"/>
              <a:gd name="connsiteY50" fmla="*/ 362 h 10000"/>
              <a:gd name="connsiteX51" fmla="*/ 7376 w 10000"/>
              <a:gd name="connsiteY51" fmla="*/ 6050 h 10000"/>
              <a:gd name="connsiteX52" fmla="*/ 8212 w 10000"/>
              <a:gd name="connsiteY52" fmla="*/ 6037 h 10000"/>
              <a:gd name="connsiteX53" fmla="*/ 8406 w 10000"/>
              <a:gd name="connsiteY53" fmla="*/ 4934 h 10000"/>
              <a:gd name="connsiteX54" fmla="*/ 8534 w 10000"/>
              <a:gd name="connsiteY54" fmla="*/ 5543 h 10000"/>
              <a:gd name="connsiteX55" fmla="*/ 8617 w 10000"/>
              <a:gd name="connsiteY55" fmla="*/ 4997 h 10000"/>
              <a:gd name="connsiteX56" fmla="*/ 8681 w 10000"/>
              <a:gd name="connsiteY56" fmla="*/ 7677 h 10000"/>
              <a:gd name="connsiteX57" fmla="*/ 8746 w 10000"/>
              <a:gd name="connsiteY57" fmla="*/ 6591 h 10000"/>
              <a:gd name="connsiteX58" fmla="*/ 8839 w 10000"/>
              <a:gd name="connsiteY58" fmla="*/ 7814 h 10000"/>
              <a:gd name="connsiteX59" fmla="*/ 8891 w 10000"/>
              <a:gd name="connsiteY59" fmla="*/ 7594 h 10000"/>
              <a:gd name="connsiteX60" fmla="*/ 8917 w 10000"/>
              <a:gd name="connsiteY60" fmla="*/ 7970 h 10000"/>
              <a:gd name="connsiteX61" fmla="*/ 9011 w 10000"/>
              <a:gd name="connsiteY61" fmla="*/ 7983 h 10000"/>
              <a:gd name="connsiteX62" fmla="*/ 9017 w 10000"/>
              <a:gd name="connsiteY62" fmla="*/ 7710 h 10000"/>
              <a:gd name="connsiteX63" fmla="*/ 9127 w 10000"/>
              <a:gd name="connsiteY63" fmla="*/ 7929 h 10000"/>
              <a:gd name="connsiteX64" fmla="*/ 9189 w 10000"/>
              <a:gd name="connsiteY64" fmla="*/ 7833 h 10000"/>
              <a:gd name="connsiteX65" fmla="*/ 9213 w 10000"/>
              <a:gd name="connsiteY65" fmla="*/ 7373 h 10000"/>
              <a:gd name="connsiteX66" fmla="*/ 9247 w 10000"/>
              <a:gd name="connsiteY66" fmla="*/ 7816 h 10000"/>
              <a:gd name="connsiteX67" fmla="*/ 9324 w 10000"/>
              <a:gd name="connsiteY67" fmla="*/ 7586 h 10000"/>
              <a:gd name="connsiteX68" fmla="*/ 9435 w 10000"/>
              <a:gd name="connsiteY68" fmla="*/ 7709 h 10000"/>
              <a:gd name="connsiteX69" fmla="*/ 9494 w 10000"/>
              <a:gd name="connsiteY69" fmla="*/ 7970 h 10000"/>
              <a:gd name="connsiteX70" fmla="*/ 9527 w 10000"/>
              <a:gd name="connsiteY70" fmla="*/ 7732 h 10000"/>
              <a:gd name="connsiteX71" fmla="*/ 9585 w 10000"/>
              <a:gd name="connsiteY71" fmla="*/ 7935 h 10000"/>
              <a:gd name="connsiteX72" fmla="*/ 9625 w 10000"/>
              <a:gd name="connsiteY72" fmla="*/ 7240 h 10000"/>
              <a:gd name="connsiteX73" fmla="*/ 9728 w 10000"/>
              <a:gd name="connsiteY73" fmla="*/ 7911 h 10000"/>
              <a:gd name="connsiteX74" fmla="*/ 9838 w 10000"/>
              <a:gd name="connsiteY74" fmla="*/ 7568 h 10000"/>
              <a:gd name="connsiteX75" fmla="*/ 9840 w 10000"/>
              <a:gd name="connsiteY75" fmla="*/ 7290 h 10000"/>
              <a:gd name="connsiteX76" fmla="*/ 9924 w 10000"/>
              <a:gd name="connsiteY76" fmla="*/ 7601 h 10000"/>
              <a:gd name="connsiteX77" fmla="*/ 10000 w 10000"/>
              <a:gd name="connsiteY77" fmla="*/ 7444 h 10000"/>
              <a:gd name="connsiteX0" fmla="*/ 0 w 10000"/>
              <a:gd name="connsiteY0" fmla="*/ 10000 h 10000"/>
              <a:gd name="connsiteX1" fmla="*/ 17 w 10000"/>
              <a:gd name="connsiteY1" fmla="*/ 6083 h 10000"/>
              <a:gd name="connsiteX2" fmla="*/ 160 w 10000"/>
              <a:gd name="connsiteY2" fmla="*/ 5074 h 10000"/>
              <a:gd name="connsiteX3" fmla="*/ 312 w 10000"/>
              <a:gd name="connsiteY3" fmla="*/ 5467 h 10000"/>
              <a:gd name="connsiteX4" fmla="*/ 812 w 10000"/>
              <a:gd name="connsiteY4" fmla="*/ 1596 h 10000"/>
              <a:gd name="connsiteX5" fmla="*/ 1055 w 10000"/>
              <a:gd name="connsiteY5" fmla="*/ 1574 h 10000"/>
              <a:gd name="connsiteX6" fmla="*/ 1161 w 10000"/>
              <a:gd name="connsiteY6" fmla="*/ 2522 h 10000"/>
              <a:gd name="connsiteX7" fmla="*/ 1218 w 10000"/>
              <a:gd name="connsiteY7" fmla="*/ 1574 h 10000"/>
              <a:gd name="connsiteX8" fmla="*/ 1272 w 10000"/>
              <a:gd name="connsiteY8" fmla="*/ 1844 h 10000"/>
              <a:gd name="connsiteX9" fmla="*/ 1312 w 10000"/>
              <a:gd name="connsiteY9" fmla="*/ 1484 h 10000"/>
              <a:gd name="connsiteX10" fmla="*/ 1359 w 10000"/>
              <a:gd name="connsiteY10" fmla="*/ 2571 h 10000"/>
              <a:gd name="connsiteX11" fmla="*/ 1434 w 10000"/>
              <a:gd name="connsiteY11" fmla="*/ 1305 h 10000"/>
              <a:gd name="connsiteX12" fmla="*/ 1437 w 10000"/>
              <a:gd name="connsiteY12" fmla="*/ 2314 h 10000"/>
              <a:gd name="connsiteX13" fmla="*/ 1498 w 10000"/>
              <a:gd name="connsiteY13" fmla="*/ 2668 h 10000"/>
              <a:gd name="connsiteX14" fmla="*/ 1545 w 10000"/>
              <a:gd name="connsiteY14" fmla="*/ 2453 h 10000"/>
              <a:gd name="connsiteX15" fmla="*/ 1569 w 10000"/>
              <a:gd name="connsiteY15" fmla="*/ 1755 h 10000"/>
              <a:gd name="connsiteX16" fmla="*/ 1660 w 10000"/>
              <a:gd name="connsiteY16" fmla="*/ 2668 h 10000"/>
              <a:gd name="connsiteX17" fmla="*/ 1735 w 10000"/>
              <a:gd name="connsiteY17" fmla="*/ 2297 h 10000"/>
              <a:gd name="connsiteX18" fmla="*/ 1772 w 10000"/>
              <a:gd name="connsiteY18" fmla="*/ 1124 h 10000"/>
              <a:gd name="connsiteX19" fmla="*/ 1797 w 10000"/>
              <a:gd name="connsiteY19" fmla="*/ 2433 h 10000"/>
              <a:gd name="connsiteX20" fmla="*/ 1825 w 10000"/>
              <a:gd name="connsiteY20" fmla="*/ 2115 h 10000"/>
              <a:gd name="connsiteX21" fmla="*/ 1835 w 10000"/>
              <a:gd name="connsiteY21" fmla="*/ 2340 h 10000"/>
              <a:gd name="connsiteX22" fmla="*/ 1893 w 10000"/>
              <a:gd name="connsiteY22" fmla="*/ 1797 h 10000"/>
              <a:gd name="connsiteX23" fmla="*/ 1988 w 10000"/>
              <a:gd name="connsiteY23" fmla="*/ 2380 h 10000"/>
              <a:gd name="connsiteX24" fmla="*/ 1983 w 10000"/>
              <a:gd name="connsiteY24" fmla="*/ 2928 h 10000"/>
              <a:gd name="connsiteX25" fmla="*/ 2044 w 10000"/>
              <a:gd name="connsiteY25" fmla="*/ 3277 h 10000"/>
              <a:gd name="connsiteX26" fmla="*/ 2081 w 10000"/>
              <a:gd name="connsiteY26" fmla="*/ 2698 h 10000"/>
              <a:gd name="connsiteX27" fmla="*/ 2128 w 10000"/>
              <a:gd name="connsiteY27" fmla="*/ 3328 h 10000"/>
              <a:gd name="connsiteX28" fmla="*/ 2217 w 10000"/>
              <a:gd name="connsiteY28" fmla="*/ 1484 h 10000"/>
              <a:gd name="connsiteX29" fmla="*/ 2281 w 10000"/>
              <a:gd name="connsiteY29" fmla="*/ 3557 h 10000"/>
              <a:gd name="connsiteX30" fmla="*/ 2405 w 10000"/>
              <a:gd name="connsiteY30" fmla="*/ 2517 h 10000"/>
              <a:gd name="connsiteX31" fmla="*/ 2418 w 10000"/>
              <a:gd name="connsiteY31" fmla="*/ 1978 h 10000"/>
              <a:gd name="connsiteX32" fmla="*/ 2495 w 10000"/>
              <a:gd name="connsiteY32" fmla="*/ 2758 h 10000"/>
              <a:gd name="connsiteX33" fmla="*/ 2553 w 10000"/>
              <a:gd name="connsiteY33" fmla="*/ 2247 h 10000"/>
              <a:gd name="connsiteX34" fmla="*/ 2607 w 10000"/>
              <a:gd name="connsiteY34" fmla="*/ 2157 h 10000"/>
              <a:gd name="connsiteX35" fmla="*/ 2702 w 10000"/>
              <a:gd name="connsiteY35" fmla="*/ 1574 h 10000"/>
              <a:gd name="connsiteX36" fmla="*/ 2855 w 10000"/>
              <a:gd name="connsiteY36" fmla="*/ 1499 h 10000"/>
              <a:gd name="connsiteX37" fmla="*/ 3283 w 10000"/>
              <a:gd name="connsiteY37" fmla="*/ 1796 h 10000"/>
              <a:gd name="connsiteX38" fmla="*/ 3383 w 10000"/>
              <a:gd name="connsiteY38" fmla="*/ 2828 h 10000"/>
              <a:gd name="connsiteX39" fmla="*/ 3737 w 10000"/>
              <a:gd name="connsiteY39" fmla="*/ 2507 h 10000"/>
              <a:gd name="connsiteX40" fmla="*/ 3830 w 10000"/>
              <a:gd name="connsiteY40" fmla="*/ 1436 h 10000"/>
              <a:gd name="connsiteX41" fmla="*/ 3897 w 10000"/>
              <a:gd name="connsiteY41" fmla="*/ 1151 h 10000"/>
              <a:gd name="connsiteX42" fmla="*/ 4315 w 10000"/>
              <a:gd name="connsiteY42" fmla="*/ 6740 h 10000"/>
              <a:gd name="connsiteX43" fmla="*/ 4700 w 10000"/>
              <a:gd name="connsiteY43" fmla="*/ 6699 h 10000"/>
              <a:gd name="connsiteX44" fmla="*/ 5071 w 10000"/>
              <a:gd name="connsiteY44" fmla="*/ 739 h 10000"/>
              <a:gd name="connsiteX45" fmla="*/ 5369 w 10000"/>
              <a:gd name="connsiteY45" fmla="*/ 768 h 10000"/>
              <a:gd name="connsiteX46" fmla="*/ 5368 w 10000"/>
              <a:gd name="connsiteY46" fmla="*/ 747 h 10000"/>
              <a:gd name="connsiteX47" fmla="*/ 5871 w 10000"/>
              <a:gd name="connsiteY47" fmla="*/ 1290 h 10000"/>
              <a:gd name="connsiteX48" fmla="*/ 6035 w 10000"/>
              <a:gd name="connsiteY48" fmla="*/ 0 h 10000"/>
              <a:gd name="connsiteX49" fmla="*/ 6568 w 10000"/>
              <a:gd name="connsiteY49" fmla="*/ 111 h 10000"/>
              <a:gd name="connsiteX50" fmla="*/ 6873 w 10000"/>
              <a:gd name="connsiteY50" fmla="*/ 42 h 10000"/>
              <a:gd name="connsiteX51" fmla="*/ 7066 w 10000"/>
              <a:gd name="connsiteY51" fmla="*/ 362 h 10000"/>
              <a:gd name="connsiteX52" fmla="*/ 7376 w 10000"/>
              <a:gd name="connsiteY52" fmla="*/ 6050 h 10000"/>
              <a:gd name="connsiteX53" fmla="*/ 8212 w 10000"/>
              <a:gd name="connsiteY53" fmla="*/ 6037 h 10000"/>
              <a:gd name="connsiteX54" fmla="*/ 8406 w 10000"/>
              <a:gd name="connsiteY54" fmla="*/ 4934 h 10000"/>
              <a:gd name="connsiteX55" fmla="*/ 8534 w 10000"/>
              <a:gd name="connsiteY55" fmla="*/ 5543 h 10000"/>
              <a:gd name="connsiteX56" fmla="*/ 8617 w 10000"/>
              <a:gd name="connsiteY56" fmla="*/ 4997 h 10000"/>
              <a:gd name="connsiteX57" fmla="*/ 8681 w 10000"/>
              <a:gd name="connsiteY57" fmla="*/ 7677 h 10000"/>
              <a:gd name="connsiteX58" fmla="*/ 8746 w 10000"/>
              <a:gd name="connsiteY58" fmla="*/ 6591 h 10000"/>
              <a:gd name="connsiteX59" fmla="*/ 8839 w 10000"/>
              <a:gd name="connsiteY59" fmla="*/ 7814 h 10000"/>
              <a:gd name="connsiteX60" fmla="*/ 8891 w 10000"/>
              <a:gd name="connsiteY60" fmla="*/ 7594 h 10000"/>
              <a:gd name="connsiteX61" fmla="*/ 8917 w 10000"/>
              <a:gd name="connsiteY61" fmla="*/ 7970 h 10000"/>
              <a:gd name="connsiteX62" fmla="*/ 9011 w 10000"/>
              <a:gd name="connsiteY62" fmla="*/ 7983 h 10000"/>
              <a:gd name="connsiteX63" fmla="*/ 9017 w 10000"/>
              <a:gd name="connsiteY63" fmla="*/ 7710 h 10000"/>
              <a:gd name="connsiteX64" fmla="*/ 9127 w 10000"/>
              <a:gd name="connsiteY64" fmla="*/ 7929 h 10000"/>
              <a:gd name="connsiteX65" fmla="*/ 9189 w 10000"/>
              <a:gd name="connsiteY65" fmla="*/ 7833 h 10000"/>
              <a:gd name="connsiteX66" fmla="*/ 9213 w 10000"/>
              <a:gd name="connsiteY66" fmla="*/ 7373 h 10000"/>
              <a:gd name="connsiteX67" fmla="*/ 9247 w 10000"/>
              <a:gd name="connsiteY67" fmla="*/ 7816 h 10000"/>
              <a:gd name="connsiteX68" fmla="*/ 9324 w 10000"/>
              <a:gd name="connsiteY68" fmla="*/ 7586 h 10000"/>
              <a:gd name="connsiteX69" fmla="*/ 9435 w 10000"/>
              <a:gd name="connsiteY69" fmla="*/ 7709 h 10000"/>
              <a:gd name="connsiteX70" fmla="*/ 9494 w 10000"/>
              <a:gd name="connsiteY70" fmla="*/ 7970 h 10000"/>
              <a:gd name="connsiteX71" fmla="*/ 9527 w 10000"/>
              <a:gd name="connsiteY71" fmla="*/ 7732 h 10000"/>
              <a:gd name="connsiteX72" fmla="*/ 9585 w 10000"/>
              <a:gd name="connsiteY72" fmla="*/ 7935 h 10000"/>
              <a:gd name="connsiteX73" fmla="*/ 9625 w 10000"/>
              <a:gd name="connsiteY73" fmla="*/ 7240 h 10000"/>
              <a:gd name="connsiteX74" fmla="*/ 9728 w 10000"/>
              <a:gd name="connsiteY74" fmla="*/ 7911 h 10000"/>
              <a:gd name="connsiteX75" fmla="*/ 9838 w 10000"/>
              <a:gd name="connsiteY75" fmla="*/ 7568 h 10000"/>
              <a:gd name="connsiteX76" fmla="*/ 9840 w 10000"/>
              <a:gd name="connsiteY76" fmla="*/ 7290 h 10000"/>
              <a:gd name="connsiteX77" fmla="*/ 9924 w 10000"/>
              <a:gd name="connsiteY77" fmla="*/ 7601 h 10000"/>
              <a:gd name="connsiteX78" fmla="*/ 10000 w 10000"/>
              <a:gd name="connsiteY78" fmla="*/ 7444 h 10000"/>
              <a:gd name="connsiteX0" fmla="*/ 0 w 10000"/>
              <a:gd name="connsiteY0" fmla="*/ 10000 h 10000"/>
              <a:gd name="connsiteX1" fmla="*/ 17 w 10000"/>
              <a:gd name="connsiteY1" fmla="*/ 6083 h 10000"/>
              <a:gd name="connsiteX2" fmla="*/ 312 w 10000"/>
              <a:gd name="connsiteY2" fmla="*/ 5467 h 10000"/>
              <a:gd name="connsiteX3" fmla="*/ 812 w 10000"/>
              <a:gd name="connsiteY3" fmla="*/ 1596 h 10000"/>
              <a:gd name="connsiteX4" fmla="*/ 1055 w 10000"/>
              <a:gd name="connsiteY4" fmla="*/ 1574 h 10000"/>
              <a:gd name="connsiteX5" fmla="*/ 1161 w 10000"/>
              <a:gd name="connsiteY5" fmla="*/ 2522 h 10000"/>
              <a:gd name="connsiteX6" fmla="*/ 1218 w 10000"/>
              <a:gd name="connsiteY6" fmla="*/ 1574 h 10000"/>
              <a:gd name="connsiteX7" fmla="*/ 1272 w 10000"/>
              <a:gd name="connsiteY7" fmla="*/ 1844 h 10000"/>
              <a:gd name="connsiteX8" fmla="*/ 1312 w 10000"/>
              <a:gd name="connsiteY8" fmla="*/ 1484 h 10000"/>
              <a:gd name="connsiteX9" fmla="*/ 1359 w 10000"/>
              <a:gd name="connsiteY9" fmla="*/ 2571 h 10000"/>
              <a:gd name="connsiteX10" fmla="*/ 1434 w 10000"/>
              <a:gd name="connsiteY10" fmla="*/ 1305 h 10000"/>
              <a:gd name="connsiteX11" fmla="*/ 1437 w 10000"/>
              <a:gd name="connsiteY11" fmla="*/ 2314 h 10000"/>
              <a:gd name="connsiteX12" fmla="*/ 1498 w 10000"/>
              <a:gd name="connsiteY12" fmla="*/ 2668 h 10000"/>
              <a:gd name="connsiteX13" fmla="*/ 1545 w 10000"/>
              <a:gd name="connsiteY13" fmla="*/ 2453 h 10000"/>
              <a:gd name="connsiteX14" fmla="*/ 1569 w 10000"/>
              <a:gd name="connsiteY14" fmla="*/ 1755 h 10000"/>
              <a:gd name="connsiteX15" fmla="*/ 1660 w 10000"/>
              <a:gd name="connsiteY15" fmla="*/ 2668 h 10000"/>
              <a:gd name="connsiteX16" fmla="*/ 1735 w 10000"/>
              <a:gd name="connsiteY16" fmla="*/ 2297 h 10000"/>
              <a:gd name="connsiteX17" fmla="*/ 1772 w 10000"/>
              <a:gd name="connsiteY17" fmla="*/ 1124 h 10000"/>
              <a:gd name="connsiteX18" fmla="*/ 1797 w 10000"/>
              <a:gd name="connsiteY18" fmla="*/ 2433 h 10000"/>
              <a:gd name="connsiteX19" fmla="*/ 1825 w 10000"/>
              <a:gd name="connsiteY19" fmla="*/ 2115 h 10000"/>
              <a:gd name="connsiteX20" fmla="*/ 1835 w 10000"/>
              <a:gd name="connsiteY20" fmla="*/ 2340 h 10000"/>
              <a:gd name="connsiteX21" fmla="*/ 1893 w 10000"/>
              <a:gd name="connsiteY21" fmla="*/ 1797 h 10000"/>
              <a:gd name="connsiteX22" fmla="*/ 1988 w 10000"/>
              <a:gd name="connsiteY22" fmla="*/ 2380 h 10000"/>
              <a:gd name="connsiteX23" fmla="*/ 1983 w 10000"/>
              <a:gd name="connsiteY23" fmla="*/ 2928 h 10000"/>
              <a:gd name="connsiteX24" fmla="*/ 2044 w 10000"/>
              <a:gd name="connsiteY24" fmla="*/ 3277 h 10000"/>
              <a:gd name="connsiteX25" fmla="*/ 2081 w 10000"/>
              <a:gd name="connsiteY25" fmla="*/ 2698 h 10000"/>
              <a:gd name="connsiteX26" fmla="*/ 2128 w 10000"/>
              <a:gd name="connsiteY26" fmla="*/ 3328 h 10000"/>
              <a:gd name="connsiteX27" fmla="*/ 2217 w 10000"/>
              <a:gd name="connsiteY27" fmla="*/ 1484 h 10000"/>
              <a:gd name="connsiteX28" fmla="*/ 2281 w 10000"/>
              <a:gd name="connsiteY28" fmla="*/ 3557 h 10000"/>
              <a:gd name="connsiteX29" fmla="*/ 2405 w 10000"/>
              <a:gd name="connsiteY29" fmla="*/ 2517 h 10000"/>
              <a:gd name="connsiteX30" fmla="*/ 2418 w 10000"/>
              <a:gd name="connsiteY30" fmla="*/ 1978 h 10000"/>
              <a:gd name="connsiteX31" fmla="*/ 2495 w 10000"/>
              <a:gd name="connsiteY31" fmla="*/ 2758 h 10000"/>
              <a:gd name="connsiteX32" fmla="*/ 2553 w 10000"/>
              <a:gd name="connsiteY32" fmla="*/ 2247 h 10000"/>
              <a:gd name="connsiteX33" fmla="*/ 2607 w 10000"/>
              <a:gd name="connsiteY33" fmla="*/ 2157 h 10000"/>
              <a:gd name="connsiteX34" fmla="*/ 2702 w 10000"/>
              <a:gd name="connsiteY34" fmla="*/ 1574 h 10000"/>
              <a:gd name="connsiteX35" fmla="*/ 2855 w 10000"/>
              <a:gd name="connsiteY35" fmla="*/ 1499 h 10000"/>
              <a:gd name="connsiteX36" fmla="*/ 3283 w 10000"/>
              <a:gd name="connsiteY36" fmla="*/ 1796 h 10000"/>
              <a:gd name="connsiteX37" fmla="*/ 3383 w 10000"/>
              <a:gd name="connsiteY37" fmla="*/ 2828 h 10000"/>
              <a:gd name="connsiteX38" fmla="*/ 3737 w 10000"/>
              <a:gd name="connsiteY38" fmla="*/ 2507 h 10000"/>
              <a:gd name="connsiteX39" fmla="*/ 3830 w 10000"/>
              <a:gd name="connsiteY39" fmla="*/ 1436 h 10000"/>
              <a:gd name="connsiteX40" fmla="*/ 3897 w 10000"/>
              <a:gd name="connsiteY40" fmla="*/ 1151 h 10000"/>
              <a:gd name="connsiteX41" fmla="*/ 4315 w 10000"/>
              <a:gd name="connsiteY41" fmla="*/ 6740 h 10000"/>
              <a:gd name="connsiteX42" fmla="*/ 4700 w 10000"/>
              <a:gd name="connsiteY42" fmla="*/ 6699 h 10000"/>
              <a:gd name="connsiteX43" fmla="*/ 5071 w 10000"/>
              <a:gd name="connsiteY43" fmla="*/ 739 h 10000"/>
              <a:gd name="connsiteX44" fmla="*/ 5369 w 10000"/>
              <a:gd name="connsiteY44" fmla="*/ 768 h 10000"/>
              <a:gd name="connsiteX45" fmla="*/ 5368 w 10000"/>
              <a:gd name="connsiteY45" fmla="*/ 747 h 10000"/>
              <a:gd name="connsiteX46" fmla="*/ 5871 w 10000"/>
              <a:gd name="connsiteY46" fmla="*/ 1290 h 10000"/>
              <a:gd name="connsiteX47" fmla="*/ 6035 w 10000"/>
              <a:gd name="connsiteY47" fmla="*/ 0 h 10000"/>
              <a:gd name="connsiteX48" fmla="*/ 6568 w 10000"/>
              <a:gd name="connsiteY48" fmla="*/ 111 h 10000"/>
              <a:gd name="connsiteX49" fmla="*/ 6873 w 10000"/>
              <a:gd name="connsiteY49" fmla="*/ 42 h 10000"/>
              <a:gd name="connsiteX50" fmla="*/ 7066 w 10000"/>
              <a:gd name="connsiteY50" fmla="*/ 362 h 10000"/>
              <a:gd name="connsiteX51" fmla="*/ 7376 w 10000"/>
              <a:gd name="connsiteY51" fmla="*/ 6050 h 10000"/>
              <a:gd name="connsiteX52" fmla="*/ 8212 w 10000"/>
              <a:gd name="connsiteY52" fmla="*/ 6037 h 10000"/>
              <a:gd name="connsiteX53" fmla="*/ 8406 w 10000"/>
              <a:gd name="connsiteY53" fmla="*/ 4934 h 10000"/>
              <a:gd name="connsiteX54" fmla="*/ 8534 w 10000"/>
              <a:gd name="connsiteY54" fmla="*/ 5543 h 10000"/>
              <a:gd name="connsiteX55" fmla="*/ 8617 w 10000"/>
              <a:gd name="connsiteY55" fmla="*/ 4997 h 10000"/>
              <a:gd name="connsiteX56" fmla="*/ 8681 w 10000"/>
              <a:gd name="connsiteY56" fmla="*/ 7677 h 10000"/>
              <a:gd name="connsiteX57" fmla="*/ 8746 w 10000"/>
              <a:gd name="connsiteY57" fmla="*/ 6591 h 10000"/>
              <a:gd name="connsiteX58" fmla="*/ 8839 w 10000"/>
              <a:gd name="connsiteY58" fmla="*/ 7814 h 10000"/>
              <a:gd name="connsiteX59" fmla="*/ 8891 w 10000"/>
              <a:gd name="connsiteY59" fmla="*/ 7594 h 10000"/>
              <a:gd name="connsiteX60" fmla="*/ 8917 w 10000"/>
              <a:gd name="connsiteY60" fmla="*/ 7970 h 10000"/>
              <a:gd name="connsiteX61" fmla="*/ 9011 w 10000"/>
              <a:gd name="connsiteY61" fmla="*/ 7983 h 10000"/>
              <a:gd name="connsiteX62" fmla="*/ 9017 w 10000"/>
              <a:gd name="connsiteY62" fmla="*/ 7710 h 10000"/>
              <a:gd name="connsiteX63" fmla="*/ 9127 w 10000"/>
              <a:gd name="connsiteY63" fmla="*/ 7929 h 10000"/>
              <a:gd name="connsiteX64" fmla="*/ 9189 w 10000"/>
              <a:gd name="connsiteY64" fmla="*/ 7833 h 10000"/>
              <a:gd name="connsiteX65" fmla="*/ 9213 w 10000"/>
              <a:gd name="connsiteY65" fmla="*/ 7373 h 10000"/>
              <a:gd name="connsiteX66" fmla="*/ 9247 w 10000"/>
              <a:gd name="connsiteY66" fmla="*/ 7816 h 10000"/>
              <a:gd name="connsiteX67" fmla="*/ 9324 w 10000"/>
              <a:gd name="connsiteY67" fmla="*/ 7586 h 10000"/>
              <a:gd name="connsiteX68" fmla="*/ 9435 w 10000"/>
              <a:gd name="connsiteY68" fmla="*/ 7709 h 10000"/>
              <a:gd name="connsiteX69" fmla="*/ 9494 w 10000"/>
              <a:gd name="connsiteY69" fmla="*/ 7970 h 10000"/>
              <a:gd name="connsiteX70" fmla="*/ 9527 w 10000"/>
              <a:gd name="connsiteY70" fmla="*/ 7732 h 10000"/>
              <a:gd name="connsiteX71" fmla="*/ 9585 w 10000"/>
              <a:gd name="connsiteY71" fmla="*/ 7935 h 10000"/>
              <a:gd name="connsiteX72" fmla="*/ 9625 w 10000"/>
              <a:gd name="connsiteY72" fmla="*/ 7240 h 10000"/>
              <a:gd name="connsiteX73" fmla="*/ 9728 w 10000"/>
              <a:gd name="connsiteY73" fmla="*/ 7911 h 10000"/>
              <a:gd name="connsiteX74" fmla="*/ 9838 w 10000"/>
              <a:gd name="connsiteY74" fmla="*/ 7568 h 10000"/>
              <a:gd name="connsiteX75" fmla="*/ 9840 w 10000"/>
              <a:gd name="connsiteY75" fmla="*/ 7290 h 10000"/>
              <a:gd name="connsiteX76" fmla="*/ 9924 w 10000"/>
              <a:gd name="connsiteY76" fmla="*/ 7601 h 10000"/>
              <a:gd name="connsiteX77" fmla="*/ 10000 w 10000"/>
              <a:gd name="connsiteY77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467 h 10000"/>
              <a:gd name="connsiteX3" fmla="*/ 812 w 10000"/>
              <a:gd name="connsiteY3" fmla="*/ 1596 h 10000"/>
              <a:gd name="connsiteX4" fmla="*/ 1055 w 10000"/>
              <a:gd name="connsiteY4" fmla="*/ 1574 h 10000"/>
              <a:gd name="connsiteX5" fmla="*/ 1161 w 10000"/>
              <a:gd name="connsiteY5" fmla="*/ 2522 h 10000"/>
              <a:gd name="connsiteX6" fmla="*/ 1218 w 10000"/>
              <a:gd name="connsiteY6" fmla="*/ 1574 h 10000"/>
              <a:gd name="connsiteX7" fmla="*/ 1272 w 10000"/>
              <a:gd name="connsiteY7" fmla="*/ 1844 h 10000"/>
              <a:gd name="connsiteX8" fmla="*/ 1312 w 10000"/>
              <a:gd name="connsiteY8" fmla="*/ 1484 h 10000"/>
              <a:gd name="connsiteX9" fmla="*/ 1359 w 10000"/>
              <a:gd name="connsiteY9" fmla="*/ 2571 h 10000"/>
              <a:gd name="connsiteX10" fmla="*/ 1434 w 10000"/>
              <a:gd name="connsiteY10" fmla="*/ 1305 h 10000"/>
              <a:gd name="connsiteX11" fmla="*/ 1437 w 10000"/>
              <a:gd name="connsiteY11" fmla="*/ 2314 h 10000"/>
              <a:gd name="connsiteX12" fmla="*/ 1498 w 10000"/>
              <a:gd name="connsiteY12" fmla="*/ 2668 h 10000"/>
              <a:gd name="connsiteX13" fmla="*/ 1545 w 10000"/>
              <a:gd name="connsiteY13" fmla="*/ 2453 h 10000"/>
              <a:gd name="connsiteX14" fmla="*/ 1569 w 10000"/>
              <a:gd name="connsiteY14" fmla="*/ 1755 h 10000"/>
              <a:gd name="connsiteX15" fmla="*/ 1660 w 10000"/>
              <a:gd name="connsiteY15" fmla="*/ 2668 h 10000"/>
              <a:gd name="connsiteX16" fmla="*/ 1735 w 10000"/>
              <a:gd name="connsiteY16" fmla="*/ 2297 h 10000"/>
              <a:gd name="connsiteX17" fmla="*/ 1772 w 10000"/>
              <a:gd name="connsiteY17" fmla="*/ 1124 h 10000"/>
              <a:gd name="connsiteX18" fmla="*/ 1797 w 10000"/>
              <a:gd name="connsiteY18" fmla="*/ 2433 h 10000"/>
              <a:gd name="connsiteX19" fmla="*/ 1825 w 10000"/>
              <a:gd name="connsiteY19" fmla="*/ 2115 h 10000"/>
              <a:gd name="connsiteX20" fmla="*/ 1835 w 10000"/>
              <a:gd name="connsiteY20" fmla="*/ 2340 h 10000"/>
              <a:gd name="connsiteX21" fmla="*/ 1893 w 10000"/>
              <a:gd name="connsiteY21" fmla="*/ 1797 h 10000"/>
              <a:gd name="connsiteX22" fmla="*/ 1988 w 10000"/>
              <a:gd name="connsiteY22" fmla="*/ 2380 h 10000"/>
              <a:gd name="connsiteX23" fmla="*/ 1983 w 10000"/>
              <a:gd name="connsiteY23" fmla="*/ 2928 h 10000"/>
              <a:gd name="connsiteX24" fmla="*/ 2044 w 10000"/>
              <a:gd name="connsiteY24" fmla="*/ 3277 h 10000"/>
              <a:gd name="connsiteX25" fmla="*/ 2081 w 10000"/>
              <a:gd name="connsiteY25" fmla="*/ 2698 h 10000"/>
              <a:gd name="connsiteX26" fmla="*/ 2128 w 10000"/>
              <a:gd name="connsiteY26" fmla="*/ 3328 h 10000"/>
              <a:gd name="connsiteX27" fmla="*/ 2217 w 10000"/>
              <a:gd name="connsiteY27" fmla="*/ 1484 h 10000"/>
              <a:gd name="connsiteX28" fmla="*/ 2281 w 10000"/>
              <a:gd name="connsiteY28" fmla="*/ 3557 h 10000"/>
              <a:gd name="connsiteX29" fmla="*/ 2405 w 10000"/>
              <a:gd name="connsiteY29" fmla="*/ 2517 h 10000"/>
              <a:gd name="connsiteX30" fmla="*/ 2418 w 10000"/>
              <a:gd name="connsiteY30" fmla="*/ 1978 h 10000"/>
              <a:gd name="connsiteX31" fmla="*/ 2495 w 10000"/>
              <a:gd name="connsiteY31" fmla="*/ 2758 h 10000"/>
              <a:gd name="connsiteX32" fmla="*/ 2553 w 10000"/>
              <a:gd name="connsiteY32" fmla="*/ 2247 h 10000"/>
              <a:gd name="connsiteX33" fmla="*/ 2607 w 10000"/>
              <a:gd name="connsiteY33" fmla="*/ 2157 h 10000"/>
              <a:gd name="connsiteX34" fmla="*/ 2702 w 10000"/>
              <a:gd name="connsiteY34" fmla="*/ 1574 h 10000"/>
              <a:gd name="connsiteX35" fmla="*/ 2855 w 10000"/>
              <a:gd name="connsiteY35" fmla="*/ 1499 h 10000"/>
              <a:gd name="connsiteX36" fmla="*/ 3283 w 10000"/>
              <a:gd name="connsiteY36" fmla="*/ 1796 h 10000"/>
              <a:gd name="connsiteX37" fmla="*/ 3383 w 10000"/>
              <a:gd name="connsiteY37" fmla="*/ 2828 h 10000"/>
              <a:gd name="connsiteX38" fmla="*/ 3737 w 10000"/>
              <a:gd name="connsiteY38" fmla="*/ 2507 h 10000"/>
              <a:gd name="connsiteX39" fmla="*/ 3830 w 10000"/>
              <a:gd name="connsiteY39" fmla="*/ 1436 h 10000"/>
              <a:gd name="connsiteX40" fmla="*/ 3897 w 10000"/>
              <a:gd name="connsiteY40" fmla="*/ 1151 h 10000"/>
              <a:gd name="connsiteX41" fmla="*/ 4315 w 10000"/>
              <a:gd name="connsiteY41" fmla="*/ 6740 h 10000"/>
              <a:gd name="connsiteX42" fmla="*/ 4700 w 10000"/>
              <a:gd name="connsiteY42" fmla="*/ 6699 h 10000"/>
              <a:gd name="connsiteX43" fmla="*/ 5071 w 10000"/>
              <a:gd name="connsiteY43" fmla="*/ 739 h 10000"/>
              <a:gd name="connsiteX44" fmla="*/ 5369 w 10000"/>
              <a:gd name="connsiteY44" fmla="*/ 768 h 10000"/>
              <a:gd name="connsiteX45" fmla="*/ 5368 w 10000"/>
              <a:gd name="connsiteY45" fmla="*/ 747 h 10000"/>
              <a:gd name="connsiteX46" fmla="*/ 5871 w 10000"/>
              <a:gd name="connsiteY46" fmla="*/ 1290 h 10000"/>
              <a:gd name="connsiteX47" fmla="*/ 6035 w 10000"/>
              <a:gd name="connsiteY47" fmla="*/ 0 h 10000"/>
              <a:gd name="connsiteX48" fmla="*/ 6568 w 10000"/>
              <a:gd name="connsiteY48" fmla="*/ 111 h 10000"/>
              <a:gd name="connsiteX49" fmla="*/ 6873 w 10000"/>
              <a:gd name="connsiteY49" fmla="*/ 42 h 10000"/>
              <a:gd name="connsiteX50" fmla="*/ 7066 w 10000"/>
              <a:gd name="connsiteY50" fmla="*/ 362 h 10000"/>
              <a:gd name="connsiteX51" fmla="*/ 7376 w 10000"/>
              <a:gd name="connsiteY51" fmla="*/ 6050 h 10000"/>
              <a:gd name="connsiteX52" fmla="*/ 8212 w 10000"/>
              <a:gd name="connsiteY52" fmla="*/ 6037 h 10000"/>
              <a:gd name="connsiteX53" fmla="*/ 8406 w 10000"/>
              <a:gd name="connsiteY53" fmla="*/ 4934 h 10000"/>
              <a:gd name="connsiteX54" fmla="*/ 8534 w 10000"/>
              <a:gd name="connsiteY54" fmla="*/ 5543 h 10000"/>
              <a:gd name="connsiteX55" fmla="*/ 8617 w 10000"/>
              <a:gd name="connsiteY55" fmla="*/ 4997 h 10000"/>
              <a:gd name="connsiteX56" fmla="*/ 8681 w 10000"/>
              <a:gd name="connsiteY56" fmla="*/ 7677 h 10000"/>
              <a:gd name="connsiteX57" fmla="*/ 8746 w 10000"/>
              <a:gd name="connsiteY57" fmla="*/ 6591 h 10000"/>
              <a:gd name="connsiteX58" fmla="*/ 8839 w 10000"/>
              <a:gd name="connsiteY58" fmla="*/ 7814 h 10000"/>
              <a:gd name="connsiteX59" fmla="*/ 8891 w 10000"/>
              <a:gd name="connsiteY59" fmla="*/ 7594 h 10000"/>
              <a:gd name="connsiteX60" fmla="*/ 8917 w 10000"/>
              <a:gd name="connsiteY60" fmla="*/ 7970 h 10000"/>
              <a:gd name="connsiteX61" fmla="*/ 9011 w 10000"/>
              <a:gd name="connsiteY61" fmla="*/ 7983 h 10000"/>
              <a:gd name="connsiteX62" fmla="*/ 9017 w 10000"/>
              <a:gd name="connsiteY62" fmla="*/ 7710 h 10000"/>
              <a:gd name="connsiteX63" fmla="*/ 9127 w 10000"/>
              <a:gd name="connsiteY63" fmla="*/ 7929 h 10000"/>
              <a:gd name="connsiteX64" fmla="*/ 9189 w 10000"/>
              <a:gd name="connsiteY64" fmla="*/ 7833 h 10000"/>
              <a:gd name="connsiteX65" fmla="*/ 9213 w 10000"/>
              <a:gd name="connsiteY65" fmla="*/ 7373 h 10000"/>
              <a:gd name="connsiteX66" fmla="*/ 9247 w 10000"/>
              <a:gd name="connsiteY66" fmla="*/ 7816 h 10000"/>
              <a:gd name="connsiteX67" fmla="*/ 9324 w 10000"/>
              <a:gd name="connsiteY67" fmla="*/ 7586 h 10000"/>
              <a:gd name="connsiteX68" fmla="*/ 9435 w 10000"/>
              <a:gd name="connsiteY68" fmla="*/ 7709 h 10000"/>
              <a:gd name="connsiteX69" fmla="*/ 9494 w 10000"/>
              <a:gd name="connsiteY69" fmla="*/ 7970 h 10000"/>
              <a:gd name="connsiteX70" fmla="*/ 9527 w 10000"/>
              <a:gd name="connsiteY70" fmla="*/ 7732 h 10000"/>
              <a:gd name="connsiteX71" fmla="*/ 9585 w 10000"/>
              <a:gd name="connsiteY71" fmla="*/ 7935 h 10000"/>
              <a:gd name="connsiteX72" fmla="*/ 9625 w 10000"/>
              <a:gd name="connsiteY72" fmla="*/ 7240 h 10000"/>
              <a:gd name="connsiteX73" fmla="*/ 9728 w 10000"/>
              <a:gd name="connsiteY73" fmla="*/ 7911 h 10000"/>
              <a:gd name="connsiteX74" fmla="*/ 9838 w 10000"/>
              <a:gd name="connsiteY74" fmla="*/ 7568 h 10000"/>
              <a:gd name="connsiteX75" fmla="*/ 9840 w 10000"/>
              <a:gd name="connsiteY75" fmla="*/ 7290 h 10000"/>
              <a:gd name="connsiteX76" fmla="*/ 9924 w 10000"/>
              <a:gd name="connsiteY76" fmla="*/ 7601 h 10000"/>
              <a:gd name="connsiteX77" fmla="*/ 10000 w 10000"/>
              <a:gd name="connsiteY77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812 w 10000"/>
              <a:gd name="connsiteY3" fmla="*/ 1596 h 10000"/>
              <a:gd name="connsiteX4" fmla="*/ 1055 w 10000"/>
              <a:gd name="connsiteY4" fmla="*/ 1574 h 10000"/>
              <a:gd name="connsiteX5" fmla="*/ 1161 w 10000"/>
              <a:gd name="connsiteY5" fmla="*/ 2522 h 10000"/>
              <a:gd name="connsiteX6" fmla="*/ 1218 w 10000"/>
              <a:gd name="connsiteY6" fmla="*/ 1574 h 10000"/>
              <a:gd name="connsiteX7" fmla="*/ 1272 w 10000"/>
              <a:gd name="connsiteY7" fmla="*/ 1844 h 10000"/>
              <a:gd name="connsiteX8" fmla="*/ 1312 w 10000"/>
              <a:gd name="connsiteY8" fmla="*/ 1484 h 10000"/>
              <a:gd name="connsiteX9" fmla="*/ 1359 w 10000"/>
              <a:gd name="connsiteY9" fmla="*/ 2571 h 10000"/>
              <a:gd name="connsiteX10" fmla="*/ 1434 w 10000"/>
              <a:gd name="connsiteY10" fmla="*/ 1305 h 10000"/>
              <a:gd name="connsiteX11" fmla="*/ 1437 w 10000"/>
              <a:gd name="connsiteY11" fmla="*/ 2314 h 10000"/>
              <a:gd name="connsiteX12" fmla="*/ 1498 w 10000"/>
              <a:gd name="connsiteY12" fmla="*/ 2668 h 10000"/>
              <a:gd name="connsiteX13" fmla="*/ 1545 w 10000"/>
              <a:gd name="connsiteY13" fmla="*/ 2453 h 10000"/>
              <a:gd name="connsiteX14" fmla="*/ 1569 w 10000"/>
              <a:gd name="connsiteY14" fmla="*/ 1755 h 10000"/>
              <a:gd name="connsiteX15" fmla="*/ 1660 w 10000"/>
              <a:gd name="connsiteY15" fmla="*/ 2668 h 10000"/>
              <a:gd name="connsiteX16" fmla="*/ 1735 w 10000"/>
              <a:gd name="connsiteY16" fmla="*/ 2297 h 10000"/>
              <a:gd name="connsiteX17" fmla="*/ 1772 w 10000"/>
              <a:gd name="connsiteY17" fmla="*/ 1124 h 10000"/>
              <a:gd name="connsiteX18" fmla="*/ 1797 w 10000"/>
              <a:gd name="connsiteY18" fmla="*/ 2433 h 10000"/>
              <a:gd name="connsiteX19" fmla="*/ 1825 w 10000"/>
              <a:gd name="connsiteY19" fmla="*/ 2115 h 10000"/>
              <a:gd name="connsiteX20" fmla="*/ 1835 w 10000"/>
              <a:gd name="connsiteY20" fmla="*/ 2340 h 10000"/>
              <a:gd name="connsiteX21" fmla="*/ 1893 w 10000"/>
              <a:gd name="connsiteY21" fmla="*/ 1797 h 10000"/>
              <a:gd name="connsiteX22" fmla="*/ 1988 w 10000"/>
              <a:gd name="connsiteY22" fmla="*/ 2380 h 10000"/>
              <a:gd name="connsiteX23" fmla="*/ 1983 w 10000"/>
              <a:gd name="connsiteY23" fmla="*/ 2928 h 10000"/>
              <a:gd name="connsiteX24" fmla="*/ 2044 w 10000"/>
              <a:gd name="connsiteY24" fmla="*/ 3277 h 10000"/>
              <a:gd name="connsiteX25" fmla="*/ 2081 w 10000"/>
              <a:gd name="connsiteY25" fmla="*/ 2698 h 10000"/>
              <a:gd name="connsiteX26" fmla="*/ 2128 w 10000"/>
              <a:gd name="connsiteY26" fmla="*/ 3328 h 10000"/>
              <a:gd name="connsiteX27" fmla="*/ 2217 w 10000"/>
              <a:gd name="connsiteY27" fmla="*/ 1484 h 10000"/>
              <a:gd name="connsiteX28" fmla="*/ 2281 w 10000"/>
              <a:gd name="connsiteY28" fmla="*/ 3557 h 10000"/>
              <a:gd name="connsiteX29" fmla="*/ 2405 w 10000"/>
              <a:gd name="connsiteY29" fmla="*/ 2517 h 10000"/>
              <a:gd name="connsiteX30" fmla="*/ 2418 w 10000"/>
              <a:gd name="connsiteY30" fmla="*/ 1978 h 10000"/>
              <a:gd name="connsiteX31" fmla="*/ 2495 w 10000"/>
              <a:gd name="connsiteY31" fmla="*/ 2758 h 10000"/>
              <a:gd name="connsiteX32" fmla="*/ 2553 w 10000"/>
              <a:gd name="connsiteY32" fmla="*/ 2247 h 10000"/>
              <a:gd name="connsiteX33" fmla="*/ 2607 w 10000"/>
              <a:gd name="connsiteY33" fmla="*/ 2157 h 10000"/>
              <a:gd name="connsiteX34" fmla="*/ 2702 w 10000"/>
              <a:gd name="connsiteY34" fmla="*/ 1574 h 10000"/>
              <a:gd name="connsiteX35" fmla="*/ 2855 w 10000"/>
              <a:gd name="connsiteY35" fmla="*/ 1499 h 10000"/>
              <a:gd name="connsiteX36" fmla="*/ 3283 w 10000"/>
              <a:gd name="connsiteY36" fmla="*/ 1796 h 10000"/>
              <a:gd name="connsiteX37" fmla="*/ 3383 w 10000"/>
              <a:gd name="connsiteY37" fmla="*/ 2828 h 10000"/>
              <a:gd name="connsiteX38" fmla="*/ 3737 w 10000"/>
              <a:gd name="connsiteY38" fmla="*/ 2507 h 10000"/>
              <a:gd name="connsiteX39" fmla="*/ 3830 w 10000"/>
              <a:gd name="connsiteY39" fmla="*/ 1436 h 10000"/>
              <a:gd name="connsiteX40" fmla="*/ 3897 w 10000"/>
              <a:gd name="connsiteY40" fmla="*/ 1151 h 10000"/>
              <a:gd name="connsiteX41" fmla="*/ 4315 w 10000"/>
              <a:gd name="connsiteY41" fmla="*/ 6740 h 10000"/>
              <a:gd name="connsiteX42" fmla="*/ 4700 w 10000"/>
              <a:gd name="connsiteY42" fmla="*/ 6699 h 10000"/>
              <a:gd name="connsiteX43" fmla="*/ 5071 w 10000"/>
              <a:gd name="connsiteY43" fmla="*/ 739 h 10000"/>
              <a:gd name="connsiteX44" fmla="*/ 5369 w 10000"/>
              <a:gd name="connsiteY44" fmla="*/ 768 h 10000"/>
              <a:gd name="connsiteX45" fmla="*/ 5368 w 10000"/>
              <a:gd name="connsiteY45" fmla="*/ 747 h 10000"/>
              <a:gd name="connsiteX46" fmla="*/ 5871 w 10000"/>
              <a:gd name="connsiteY46" fmla="*/ 1290 h 10000"/>
              <a:gd name="connsiteX47" fmla="*/ 6035 w 10000"/>
              <a:gd name="connsiteY47" fmla="*/ 0 h 10000"/>
              <a:gd name="connsiteX48" fmla="*/ 6568 w 10000"/>
              <a:gd name="connsiteY48" fmla="*/ 111 h 10000"/>
              <a:gd name="connsiteX49" fmla="*/ 6873 w 10000"/>
              <a:gd name="connsiteY49" fmla="*/ 42 h 10000"/>
              <a:gd name="connsiteX50" fmla="*/ 7066 w 10000"/>
              <a:gd name="connsiteY50" fmla="*/ 362 h 10000"/>
              <a:gd name="connsiteX51" fmla="*/ 7376 w 10000"/>
              <a:gd name="connsiteY51" fmla="*/ 6050 h 10000"/>
              <a:gd name="connsiteX52" fmla="*/ 8212 w 10000"/>
              <a:gd name="connsiteY52" fmla="*/ 6037 h 10000"/>
              <a:gd name="connsiteX53" fmla="*/ 8406 w 10000"/>
              <a:gd name="connsiteY53" fmla="*/ 4934 h 10000"/>
              <a:gd name="connsiteX54" fmla="*/ 8534 w 10000"/>
              <a:gd name="connsiteY54" fmla="*/ 5543 h 10000"/>
              <a:gd name="connsiteX55" fmla="*/ 8617 w 10000"/>
              <a:gd name="connsiteY55" fmla="*/ 4997 h 10000"/>
              <a:gd name="connsiteX56" fmla="*/ 8681 w 10000"/>
              <a:gd name="connsiteY56" fmla="*/ 7677 h 10000"/>
              <a:gd name="connsiteX57" fmla="*/ 8746 w 10000"/>
              <a:gd name="connsiteY57" fmla="*/ 6591 h 10000"/>
              <a:gd name="connsiteX58" fmla="*/ 8839 w 10000"/>
              <a:gd name="connsiteY58" fmla="*/ 7814 h 10000"/>
              <a:gd name="connsiteX59" fmla="*/ 8891 w 10000"/>
              <a:gd name="connsiteY59" fmla="*/ 7594 h 10000"/>
              <a:gd name="connsiteX60" fmla="*/ 8917 w 10000"/>
              <a:gd name="connsiteY60" fmla="*/ 7970 h 10000"/>
              <a:gd name="connsiteX61" fmla="*/ 9011 w 10000"/>
              <a:gd name="connsiteY61" fmla="*/ 7983 h 10000"/>
              <a:gd name="connsiteX62" fmla="*/ 9017 w 10000"/>
              <a:gd name="connsiteY62" fmla="*/ 7710 h 10000"/>
              <a:gd name="connsiteX63" fmla="*/ 9127 w 10000"/>
              <a:gd name="connsiteY63" fmla="*/ 7929 h 10000"/>
              <a:gd name="connsiteX64" fmla="*/ 9189 w 10000"/>
              <a:gd name="connsiteY64" fmla="*/ 7833 h 10000"/>
              <a:gd name="connsiteX65" fmla="*/ 9213 w 10000"/>
              <a:gd name="connsiteY65" fmla="*/ 7373 h 10000"/>
              <a:gd name="connsiteX66" fmla="*/ 9247 w 10000"/>
              <a:gd name="connsiteY66" fmla="*/ 7816 h 10000"/>
              <a:gd name="connsiteX67" fmla="*/ 9324 w 10000"/>
              <a:gd name="connsiteY67" fmla="*/ 7586 h 10000"/>
              <a:gd name="connsiteX68" fmla="*/ 9435 w 10000"/>
              <a:gd name="connsiteY68" fmla="*/ 7709 h 10000"/>
              <a:gd name="connsiteX69" fmla="*/ 9494 w 10000"/>
              <a:gd name="connsiteY69" fmla="*/ 7970 h 10000"/>
              <a:gd name="connsiteX70" fmla="*/ 9527 w 10000"/>
              <a:gd name="connsiteY70" fmla="*/ 7732 h 10000"/>
              <a:gd name="connsiteX71" fmla="*/ 9585 w 10000"/>
              <a:gd name="connsiteY71" fmla="*/ 7935 h 10000"/>
              <a:gd name="connsiteX72" fmla="*/ 9625 w 10000"/>
              <a:gd name="connsiteY72" fmla="*/ 7240 h 10000"/>
              <a:gd name="connsiteX73" fmla="*/ 9728 w 10000"/>
              <a:gd name="connsiteY73" fmla="*/ 7911 h 10000"/>
              <a:gd name="connsiteX74" fmla="*/ 9838 w 10000"/>
              <a:gd name="connsiteY74" fmla="*/ 7568 h 10000"/>
              <a:gd name="connsiteX75" fmla="*/ 9840 w 10000"/>
              <a:gd name="connsiteY75" fmla="*/ 7290 h 10000"/>
              <a:gd name="connsiteX76" fmla="*/ 9924 w 10000"/>
              <a:gd name="connsiteY76" fmla="*/ 7601 h 10000"/>
              <a:gd name="connsiteX77" fmla="*/ 10000 w 10000"/>
              <a:gd name="connsiteY77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812 w 10000"/>
              <a:gd name="connsiteY3" fmla="*/ 1596 h 10000"/>
              <a:gd name="connsiteX4" fmla="*/ 1055 w 10000"/>
              <a:gd name="connsiteY4" fmla="*/ 1574 h 10000"/>
              <a:gd name="connsiteX5" fmla="*/ 1161 w 10000"/>
              <a:gd name="connsiteY5" fmla="*/ 2522 h 10000"/>
              <a:gd name="connsiteX6" fmla="*/ 1218 w 10000"/>
              <a:gd name="connsiteY6" fmla="*/ 1574 h 10000"/>
              <a:gd name="connsiteX7" fmla="*/ 1272 w 10000"/>
              <a:gd name="connsiteY7" fmla="*/ 1844 h 10000"/>
              <a:gd name="connsiteX8" fmla="*/ 1312 w 10000"/>
              <a:gd name="connsiteY8" fmla="*/ 1484 h 10000"/>
              <a:gd name="connsiteX9" fmla="*/ 1359 w 10000"/>
              <a:gd name="connsiteY9" fmla="*/ 2571 h 10000"/>
              <a:gd name="connsiteX10" fmla="*/ 1434 w 10000"/>
              <a:gd name="connsiteY10" fmla="*/ 1305 h 10000"/>
              <a:gd name="connsiteX11" fmla="*/ 1437 w 10000"/>
              <a:gd name="connsiteY11" fmla="*/ 2314 h 10000"/>
              <a:gd name="connsiteX12" fmla="*/ 1498 w 10000"/>
              <a:gd name="connsiteY12" fmla="*/ 2668 h 10000"/>
              <a:gd name="connsiteX13" fmla="*/ 1545 w 10000"/>
              <a:gd name="connsiteY13" fmla="*/ 2453 h 10000"/>
              <a:gd name="connsiteX14" fmla="*/ 1569 w 10000"/>
              <a:gd name="connsiteY14" fmla="*/ 1755 h 10000"/>
              <a:gd name="connsiteX15" fmla="*/ 1660 w 10000"/>
              <a:gd name="connsiteY15" fmla="*/ 2668 h 10000"/>
              <a:gd name="connsiteX16" fmla="*/ 1735 w 10000"/>
              <a:gd name="connsiteY16" fmla="*/ 2297 h 10000"/>
              <a:gd name="connsiteX17" fmla="*/ 1772 w 10000"/>
              <a:gd name="connsiteY17" fmla="*/ 1124 h 10000"/>
              <a:gd name="connsiteX18" fmla="*/ 1797 w 10000"/>
              <a:gd name="connsiteY18" fmla="*/ 2433 h 10000"/>
              <a:gd name="connsiteX19" fmla="*/ 1825 w 10000"/>
              <a:gd name="connsiteY19" fmla="*/ 2115 h 10000"/>
              <a:gd name="connsiteX20" fmla="*/ 1835 w 10000"/>
              <a:gd name="connsiteY20" fmla="*/ 2340 h 10000"/>
              <a:gd name="connsiteX21" fmla="*/ 1893 w 10000"/>
              <a:gd name="connsiteY21" fmla="*/ 1797 h 10000"/>
              <a:gd name="connsiteX22" fmla="*/ 1988 w 10000"/>
              <a:gd name="connsiteY22" fmla="*/ 2380 h 10000"/>
              <a:gd name="connsiteX23" fmla="*/ 1983 w 10000"/>
              <a:gd name="connsiteY23" fmla="*/ 2928 h 10000"/>
              <a:gd name="connsiteX24" fmla="*/ 2044 w 10000"/>
              <a:gd name="connsiteY24" fmla="*/ 3277 h 10000"/>
              <a:gd name="connsiteX25" fmla="*/ 2081 w 10000"/>
              <a:gd name="connsiteY25" fmla="*/ 2698 h 10000"/>
              <a:gd name="connsiteX26" fmla="*/ 2128 w 10000"/>
              <a:gd name="connsiteY26" fmla="*/ 3328 h 10000"/>
              <a:gd name="connsiteX27" fmla="*/ 2217 w 10000"/>
              <a:gd name="connsiteY27" fmla="*/ 1484 h 10000"/>
              <a:gd name="connsiteX28" fmla="*/ 2281 w 10000"/>
              <a:gd name="connsiteY28" fmla="*/ 3557 h 10000"/>
              <a:gd name="connsiteX29" fmla="*/ 2405 w 10000"/>
              <a:gd name="connsiteY29" fmla="*/ 2517 h 10000"/>
              <a:gd name="connsiteX30" fmla="*/ 2418 w 10000"/>
              <a:gd name="connsiteY30" fmla="*/ 1978 h 10000"/>
              <a:gd name="connsiteX31" fmla="*/ 2495 w 10000"/>
              <a:gd name="connsiteY31" fmla="*/ 2758 h 10000"/>
              <a:gd name="connsiteX32" fmla="*/ 2553 w 10000"/>
              <a:gd name="connsiteY32" fmla="*/ 2247 h 10000"/>
              <a:gd name="connsiteX33" fmla="*/ 2607 w 10000"/>
              <a:gd name="connsiteY33" fmla="*/ 2157 h 10000"/>
              <a:gd name="connsiteX34" fmla="*/ 2702 w 10000"/>
              <a:gd name="connsiteY34" fmla="*/ 1574 h 10000"/>
              <a:gd name="connsiteX35" fmla="*/ 2855 w 10000"/>
              <a:gd name="connsiteY35" fmla="*/ 1499 h 10000"/>
              <a:gd name="connsiteX36" fmla="*/ 3283 w 10000"/>
              <a:gd name="connsiteY36" fmla="*/ 1796 h 10000"/>
              <a:gd name="connsiteX37" fmla="*/ 3383 w 10000"/>
              <a:gd name="connsiteY37" fmla="*/ 2828 h 10000"/>
              <a:gd name="connsiteX38" fmla="*/ 3737 w 10000"/>
              <a:gd name="connsiteY38" fmla="*/ 2507 h 10000"/>
              <a:gd name="connsiteX39" fmla="*/ 3830 w 10000"/>
              <a:gd name="connsiteY39" fmla="*/ 1436 h 10000"/>
              <a:gd name="connsiteX40" fmla="*/ 3897 w 10000"/>
              <a:gd name="connsiteY40" fmla="*/ 1151 h 10000"/>
              <a:gd name="connsiteX41" fmla="*/ 4315 w 10000"/>
              <a:gd name="connsiteY41" fmla="*/ 6740 h 10000"/>
              <a:gd name="connsiteX42" fmla="*/ 4700 w 10000"/>
              <a:gd name="connsiteY42" fmla="*/ 6699 h 10000"/>
              <a:gd name="connsiteX43" fmla="*/ 5071 w 10000"/>
              <a:gd name="connsiteY43" fmla="*/ 739 h 10000"/>
              <a:gd name="connsiteX44" fmla="*/ 5369 w 10000"/>
              <a:gd name="connsiteY44" fmla="*/ 768 h 10000"/>
              <a:gd name="connsiteX45" fmla="*/ 5368 w 10000"/>
              <a:gd name="connsiteY45" fmla="*/ 747 h 10000"/>
              <a:gd name="connsiteX46" fmla="*/ 5871 w 10000"/>
              <a:gd name="connsiteY46" fmla="*/ 1290 h 10000"/>
              <a:gd name="connsiteX47" fmla="*/ 6035 w 10000"/>
              <a:gd name="connsiteY47" fmla="*/ 0 h 10000"/>
              <a:gd name="connsiteX48" fmla="*/ 6568 w 10000"/>
              <a:gd name="connsiteY48" fmla="*/ 111 h 10000"/>
              <a:gd name="connsiteX49" fmla="*/ 6873 w 10000"/>
              <a:gd name="connsiteY49" fmla="*/ 42 h 10000"/>
              <a:gd name="connsiteX50" fmla="*/ 7066 w 10000"/>
              <a:gd name="connsiteY50" fmla="*/ 362 h 10000"/>
              <a:gd name="connsiteX51" fmla="*/ 7376 w 10000"/>
              <a:gd name="connsiteY51" fmla="*/ 6050 h 10000"/>
              <a:gd name="connsiteX52" fmla="*/ 8212 w 10000"/>
              <a:gd name="connsiteY52" fmla="*/ 6037 h 10000"/>
              <a:gd name="connsiteX53" fmla="*/ 8406 w 10000"/>
              <a:gd name="connsiteY53" fmla="*/ 4934 h 10000"/>
              <a:gd name="connsiteX54" fmla="*/ 8534 w 10000"/>
              <a:gd name="connsiteY54" fmla="*/ 5543 h 10000"/>
              <a:gd name="connsiteX55" fmla="*/ 8617 w 10000"/>
              <a:gd name="connsiteY55" fmla="*/ 4997 h 10000"/>
              <a:gd name="connsiteX56" fmla="*/ 8681 w 10000"/>
              <a:gd name="connsiteY56" fmla="*/ 7677 h 10000"/>
              <a:gd name="connsiteX57" fmla="*/ 8746 w 10000"/>
              <a:gd name="connsiteY57" fmla="*/ 6591 h 10000"/>
              <a:gd name="connsiteX58" fmla="*/ 8839 w 10000"/>
              <a:gd name="connsiteY58" fmla="*/ 7814 h 10000"/>
              <a:gd name="connsiteX59" fmla="*/ 8891 w 10000"/>
              <a:gd name="connsiteY59" fmla="*/ 7594 h 10000"/>
              <a:gd name="connsiteX60" fmla="*/ 8917 w 10000"/>
              <a:gd name="connsiteY60" fmla="*/ 7970 h 10000"/>
              <a:gd name="connsiteX61" fmla="*/ 9011 w 10000"/>
              <a:gd name="connsiteY61" fmla="*/ 7983 h 10000"/>
              <a:gd name="connsiteX62" fmla="*/ 9017 w 10000"/>
              <a:gd name="connsiteY62" fmla="*/ 7710 h 10000"/>
              <a:gd name="connsiteX63" fmla="*/ 9127 w 10000"/>
              <a:gd name="connsiteY63" fmla="*/ 7929 h 10000"/>
              <a:gd name="connsiteX64" fmla="*/ 9189 w 10000"/>
              <a:gd name="connsiteY64" fmla="*/ 7833 h 10000"/>
              <a:gd name="connsiteX65" fmla="*/ 9213 w 10000"/>
              <a:gd name="connsiteY65" fmla="*/ 7373 h 10000"/>
              <a:gd name="connsiteX66" fmla="*/ 9247 w 10000"/>
              <a:gd name="connsiteY66" fmla="*/ 7816 h 10000"/>
              <a:gd name="connsiteX67" fmla="*/ 9324 w 10000"/>
              <a:gd name="connsiteY67" fmla="*/ 7586 h 10000"/>
              <a:gd name="connsiteX68" fmla="*/ 9435 w 10000"/>
              <a:gd name="connsiteY68" fmla="*/ 7709 h 10000"/>
              <a:gd name="connsiteX69" fmla="*/ 9494 w 10000"/>
              <a:gd name="connsiteY69" fmla="*/ 7970 h 10000"/>
              <a:gd name="connsiteX70" fmla="*/ 9527 w 10000"/>
              <a:gd name="connsiteY70" fmla="*/ 7732 h 10000"/>
              <a:gd name="connsiteX71" fmla="*/ 9585 w 10000"/>
              <a:gd name="connsiteY71" fmla="*/ 7935 h 10000"/>
              <a:gd name="connsiteX72" fmla="*/ 9625 w 10000"/>
              <a:gd name="connsiteY72" fmla="*/ 7240 h 10000"/>
              <a:gd name="connsiteX73" fmla="*/ 9728 w 10000"/>
              <a:gd name="connsiteY73" fmla="*/ 7911 h 10000"/>
              <a:gd name="connsiteX74" fmla="*/ 9838 w 10000"/>
              <a:gd name="connsiteY74" fmla="*/ 7568 h 10000"/>
              <a:gd name="connsiteX75" fmla="*/ 9840 w 10000"/>
              <a:gd name="connsiteY75" fmla="*/ 7290 h 10000"/>
              <a:gd name="connsiteX76" fmla="*/ 9924 w 10000"/>
              <a:gd name="connsiteY76" fmla="*/ 7601 h 10000"/>
              <a:gd name="connsiteX77" fmla="*/ 10000 w 10000"/>
              <a:gd name="connsiteY77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464 w 10000"/>
              <a:gd name="connsiteY3" fmla="*/ 3897 h 10000"/>
              <a:gd name="connsiteX4" fmla="*/ 812 w 10000"/>
              <a:gd name="connsiteY4" fmla="*/ 1596 h 10000"/>
              <a:gd name="connsiteX5" fmla="*/ 1055 w 10000"/>
              <a:gd name="connsiteY5" fmla="*/ 1574 h 10000"/>
              <a:gd name="connsiteX6" fmla="*/ 1161 w 10000"/>
              <a:gd name="connsiteY6" fmla="*/ 2522 h 10000"/>
              <a:gd name="connsiteX7" fmla="*/ 1218 w 10000"/>
              <a:gd name="connsiteY7" fmla="*/ 1574 h 10000"/>
              <a:gd name="connsiteX8" fmla="*/ 1272 w 10000"/>
              <a:gd name="connsiteY8" fmla="*/ 1844 h 10000"/>
              <a:gd name="connsiteX9" fmla="*/ 1312 w 10000"/>
              <a:gd name="connsiteY9" fmla="*/ 1484 h 10000"/>
              <a:gd name="connsiteX10" fmla="*/ 1359 w 10000"/>
              <a:gd name="connsiteY10" fmla="*/ 2571 h 10000"/>
              <a:gd name="connsiteX11" fmla="*/ 1434 w 10000"/>
              <a:gd name="connsiteY11" fmla="*/ 1305 h 10000"/>
              <a:gd name="connsiteX12" fmla="*/ 1437 w 10000"/>
              <a:gd name="connsiteY12" fmla="*/ 2314 h 10000"/>
              <a:gd name="connsiteX13" fmla="*/ 1498 w 10000"/>
              <a:gd name="connsiteY13" fmla="*/ 2668 h 10000"/>
              <a:gd name="connsiteX14" fmla="*/ 1545 w 10000"/>
              <a:gd name="connsiteY14" fmla="*/ 2453 h 10000"/>
              <a:gd name="connsiteX15" fmla="*/ 1569 w 10000"/>
              <a:gd name="connsiteY15" fmla="*/ 1755 h 10000"/>
              <a:gd name="connsiteX16" fmla="*/ 1660 w 10000"/>
              <a:gd name="connsiteY16" fmla="*/ 2668 h 10000"/>
              <a:gd name="connsiteX17" fmla="*/ 1735 w 10000"/>
              <a:gd name="connsiteY17" fmla="*/ 2297 h 10000"/>
              <a:gd name="connsiteX18" fmla="*/ 1772 w 10000"/>
              <a:gd name="connsiteY18" fmla="*/ 1124 h 10000"/>
              <a:gd name="connsiteX19" fmla="*/ 1797 w 10000"/>
              <a:gd name="connsiteY19" fmla="*/ 2433 h 10000"/>
              <a:gd name="connsiteX20" fmla="*/ 1825 w 10000"/>
              <a:gd name="connsiteY20" fmla="*/ 2115 h 10000"/>
              <a:gd name="connsiteX21" fmla="*/ 1835 w 10000"/>
              <a:gd name="connsiteY21" fmla="*/ 2340 h 10000"/>
              <a:gd name="connsiteX22" fmla="*/ 1893 w 10000"/>
              <a:gd name="connsiteY22" fmla="*/ 1797 h 10000"/>
              <a:gd name="connsiteX23" fmla="*/ 1988 w 10000"/>
              <a:gd name="connsiteY23" fmla="*/ 2380 h 10000"/>
              <a:gd name="connsiteX24" fmla="*/ 1983 w 10000"/>
              <a:gd name="connsiteY24" fmla="*/ 2928 h 10000"/>
              <a:gd name="connsiteX25" fmla="*/ 2044 w 10000"/>
              <a:gd name="connsiteY25" fmla="*/ 3277 h 10000"/>
              <a:gd name="connsiteX26" fmla="*/ 2081 w 10000"/>
              <a:gd name="connsiteY26" fmla="*/ 2698 h 10000"/>
              <a:gd name="connsiteX27" fmla="*/ 2128 w 10000"/>
              <a:gd name="connsiteY27" fmla="*/ 3328 h 10000"/>
              <a:gd name="connsiteX28" fmla="*/ 2217 w 10000"/>
              <a:gd name="connsiteY28" fmla="*/ 1484 h 10000"/>
              <a:gd name="connsiteX29" fmla="*/ 2281 w 10000"/>
              <a:gd name="connsiteY29" fmla="*/ 3557 h 10000"/>
              <a:gd name="connsiteX30" fmla="*/ 2405 w 10000"/>
              <a:gd name="connsiteY30" fmla="*/ 2517 h 10000"/>
              <a:gd name="connsiteX31" fmla="*/ 2418 w 10000"/>
              <a:gd name="connsiteY31" fmla="*/ 1978 h 10000"/>
              <a:gd name="connsiteX32" fmla="*/ 2495 w 10000"/>
              <a:gd name="connsiteY32" fmla="*/ 2758 h 10000"/>
              <a:gd name="connsiteX33" fmla="*/ 2553 w 10000"/>
              <a:gd name="connsiteY33" fmla="*/ 2247 h 10000"/>
              <a:gd name="connsiteX34" fmla="*/ 2607 w 10000"/>
              <a:gd name="connsiteY34" fmla="*/ 2157 h 10000"/>
              <a:gd name="connsiteX35" fmla="*/ 2702 w 10000"/>
              <a:gd name="connsiteY35" fmla="*/ 1574 h 10000"/>
              <a:gd name="connsiteX36" fmla="*/ 2855 w 10000"/>
              <a:gd name="connsiteY36" fmla="*/ 1499 h 10000"/>
              <a:gd name="connsiteX37" fmla="*/ 3283 w 10000"/>
              <a:gd name="connsiteY37" fmla="*/ 1796 h 10000"/>
              <a:gd name="connsiteX38" fmla="*/ 3383 w 10000"/>
              <a:gd name="connsiteY38" fmla="*/ 2828 h 10000"/>
              <a:gd name="connsiteX39" fmla="*/ 3737 w 10000"/>
              <a:gd name="connsiteY39" fmla="*/ 2507 h 10000"/>
              <a:gd name="connsiteX40" fmla="*/ 3830 w 10000"/>
              <a:gd name="connsiteY40" fmla="*/ 1436 h 10000"/>
              <a:gd name="connsiteX41" fmla="*/ 3897 w 10000"/>
              <a:gd name="connsiteY41" fmla="*/ 1151 h 10000"/>
              <a:gd name="connsiteX42" fmla="*/ 4315 w 10000"/>
              <a:gd name="connsiteY42" fmla="*/ 6740 h 10000"/>
              <a:gd name="connsiteX43" fmla="*/ 4700 w 10000"/>
              <a:gd name="connsiteY43" fmla="*/ 6699 h 10000"/>
              <a:gd name="connsiteX44" fmla="*/ 5071 w 10000"/>
              <a:gd name="connsiteY44" fmla="*/ 739 h 10000"/>
              <a:gd name="connsiteX45" fmla="*/ 5369 w 10000"/>
              <a:gd name="connsiteY45" fmla="*/ 768 h 10000"/>
              <a:gd name="connsiteX46" fmla="*/ 5368 w 10000"/>
              <a:gd name="connsiteY46" fmla="*/ 747 h 10000"/>
              <a:gd name="connsiteX47" fmla="*/ 5871 w 10000"/>
              <a:gd name="connsiteY47" fmla="*/ 1290 h 10000"/>
              <a:gd name="connsiteX48" fmla="*/ 6035 w 10000"/>
              <a:gd name="connsiteY48" fmla="*/ 0 h 10000"/>
              <a:gd name="connsiteX49" fmla="*/ 6568 w 10000"/>
              <a:gd name="connsiteY49" fmla="*/ 111 h 10000"/>
              <a:gd name="connsiteX50" fmla="*/ 6873 w 10000"/>
              <a:gd name="connsiteY50" fmla="*/ 42 h 10000"/>
              <a:gd name="connsiteX51" fmla="*/ 7066 w 10000"/>
              <a:gd name="connsiteY51" fmla="*/ 362 h 10000"/>
              <a:gd name="connsiteX52" fmla="*/ 7376 w 10000"/>
              <a:gd name="connsiteY52" fmla="*/ 6050 h 10000"/>
              <a:gd name="connsiteX53" fmla="*/ 8212 w 10000"/>
              <a:gd name="connsiteY53" fmla="*/ 6037 h 10000"/>
              <a:gd name="connsiteX54" fmla="*/ 8406 w 10000"/>
              <a:gd name="connsiteY54" fmla="*/ 4934 h 10000"/>
              <a:gd name="connsiteX55" fmla="*/ 8534 w 10000"/>
              <a:gd name="connsiteY55" fmla="*/ 5543 h 10000"/>
              <a:gd name="connsiteX56" fmla="*/ 8617 w 10000"/>
              <a:gd name="connsiteY56" fmla="*/ 4997 h 10000"/>
              <a:gd name="connsiteX57" fmla="*/ 8681 w 10000"/>
              <a:gd name="connsiteY57" fmla="*/ 7677 h 10000"/>
              <a:gd name="connsiteX58" fmla="*/ 8746 w 10000"/>
              <a:gd name="connsiteY58" fmla="*/ 6591 h 10000"/>
              <a:gd name="connsiteX59" fmla="*/ 8839 w 10000"/>
              <a:gd name="connsiteY59" fmla="*/ 7814 h 10000"/>
              <a:gd name="connsiteX60" fmla="*/ 8891 w 10000"/>
              <a:gd name="connsiteY60" fmla="*/ 7594 h 10000"/>
              <a:gd name="connsiteX61" fmla="*/ 8917 w 10000"/>
              <a:gd name="connsiteY61" fmla="*/ 7970 h 10000"/>
              <a:gd name="connsiteX62" fmla="*/ 9011 w 10000"/>
              <a:gd name="connsiteY62" fmla="*/ 7983 h 10000"/>
              <a:gd name="connsiteX63" fmla="*/ 9017 w 10000"/>
              <a:gd name="connsiteY63" fmla="*/ 7710 h 10000"/>
              <a:gd name="connsiteX64" fmla="*/ 9127 w 10000"/>
              <a:gd name="connsiteY64" fmla="*/ 7929 h 10000"/>
              <a:gd name="connsiteX65" fmla="*/ 9189 w 10000"/>
              <a:gd name="connsiteY65" fmla="*/ 7833 h 10000"/>
              <a:gd name="connsiteX66" fmla="*/ 9213 w 10000"/>
              <a:gd name="connsiteY66" fmla="*/ 7373 h 10000"/>
              <a:gd name="connsiteX67" fmla="*/ 9247 w 10000"/>
              <a:gd name="connsiteY67" fmla="*/ 7816 h 10000"/>
              <a:gd name="connsiteX68" fmla="*/ 9324 w 10000"/>
              <a:gd name="connsiteY68" fmla="*/ 7586 h 10000"/>
              <a:gd name="connsiteX69" fmla="*/ 9435 w 10000"/>
              <a:gd name="connsiteY69" fmla="*/ 7709 h 10000"/>
              <a:gd name="connsiteX70" fmla="*/ 9494 w 10000"/>
              <a:gd name="connsiteY70" fmla="*/ 7970 h 10000"/>
              <a:gd name="connsiteX71" fmla="*/ 9527 w 10000"/>
              <a:gd name="connsiteY71" fmla="*/ 7732 h 10000"/>
              <a:gd name="connsiteX72" fmla="*/ 9585 w 10000"/>
              <a:gd name="connsiteY72" fmla="*/ 7935 h 10000"/>
              <a:gd name="connsiteX73" fmla="*/ 9625 w 10000"/>
              <a:gd name="connsiteY73" fmla="*/ 7240 h 10000"/>
              <a:gd name="connsiteX74" fmla="*/ 9728 w 10000"/>
              <a:gd name="connsiteY74" fmla="*/ 7911 h 10000"/>
              <a:gd name="connsiteX75" fmla="*/ 9838 w 10000"/>
              <a:gd name="connsiteY75" fmla="*/ 7568 h 10000"/>
              <a:gd name="connsiteX76" fmla="*/ 9840 w 10000"/>
              <a:gd name="connsiteY76" fmla="*/ 7290 h 10000"/>
              <a:gd name="connsiteX77" fmla="*/ 9924 w 10000"/>
              <a:gd name="connsiteY77" fmla="*/ 7601 h 10000"/>
              <a:gd name="connsiteX78" fmla="*/ 10000 w 10000"/>
              <a:gd name="connsiteY7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99 w 10000"/>
              <a:gd name="connsiteY3" fmla="*/ 1710 h 10000"/>
              <a:gd name="connsiteX4" fmla="*/ 812 w 10000"/>
              <a:gd name="connsiteY4" fmla="*/ 1596 h 10000"/>
              <a:gd name="connsiteX5" fmla="*/ 1055 w 10000"/>
              <a:gd name="connsiteY5" fmla="*/ 1574 h 10000"/>
              <a:gd name="connsiteX6" fmla="*/ 1161 w 10000"/>
              <a:gd name="connsiteY6" fmla="*/ 2522 h 10000"/>
              <a:gd name="connsiteX7" fmla="*/ 1218 w 10000"/>
              <a:gd name="connsiteY7" fmla="*/ 1574 h 10000"/>
              <a:gd name="connsiteX8" fmla="*/ 1272 w 10000"/>
              <a:gd name="connsiteY8" fmla="*/ 1844 h 10000"/>
              <a:gd name="connsiteX9" fmla="*/ 1312 w 10000"/>
              <a:gd name="connsiteY9" fmla="*/ 1484 h 10000"/>
              <a:gd name="connsiteX10" fmla="*/ 1359 w 10000"/>
              <a:gd name="connsiteY10" fmla="*/ 2571 h 10000"/>
              <a:gd name="connsiteX11" fmla="*/ 1434 w 10000"/>
              <a:gd name="connsiteY11" fmla="*/ 1305 h 10000"/>
              <a:gd name="connsiteX12" fmla="*/ 1437 w 10000"/>
              <a:gd name="connsiteY12" fmla="*/ 2314 h 10000"/>
              <a:gd name="connsiteX13" fmla="*/ 1498 w 10000"/>
              <a:gd name="connsiteY13" fmla="*/ 2668 h 10000"/>
              <a:gd name="connsiteX14" fmla="*/ 1545 w 10000"/>
              <a:gd name="connsiteY14" fmla="*/ 2453 h 10000"/>
              <a:gd name="connsiteX15" fmla="*/ 1569 w 10000"/>
              <a:gd name="connsiteY15" fmla="*/ 1755 h 10000"/>
              <a:gd name="connsiteX16" fmla="*/ 1660 w 10000"/>
              <a:gd name="connsiteY16" fmla="*/ 2668 h 10000"/>
              <a:gd name="connsiteX17" fmla="*/ 1735 w 10000"/>
              <a:gd name="connsiteY17" fmla="*/ 2297 h 10000"/>
              <a:gd name="connsiteX18" fmla="*/ 1772 w 10000"/>
              <a:gd name="connsiteY18" fmla="*/ 1124 h 10000"/>
              <a:gd name="connsiteX19" fmla="*/ 1797 w 10000"/>
              <a:gd name="connsiteY19" fmla="*/ 2433 h 10000"/>
              <a:gd name="connsiteX20" fmla="*/ 1825 w 10000"/>
              <a:gd name="connsiteY20" fmla="*/ 2115 h 10000"/>
              <a:gd name="connsiteX21" fmla="*/ 1835 w 10000"/>
              <a:gd name="connsiteY21" fmla="*/ 2340 h 10000"/>
              <a:gd name="connsiteX22" fmla="*/ 1893 w 10000"/>
              <a:gd name="connsiteY22" fmla="*/ 1797 h 10000"/>
              <a:gd name="connsiteX23" fmla="*/ 1988 w 10000"/>
              <a:gd name="connsiteY23" fmla="*/ 2380 h 10000"/>
              <a:gd name="connsiteX24" fmla="*/ 1983 w 10000"/>
              <a:gd name="connsiteY24" fmla="*/ 2928 h 10000"/>
              <a:gd name="connsiteX25" fmla="*/ 2044 w 10000"/>
              <a:gd name="connsiteY25" fmla="*/ 3277 h 10000"/>
              <a:gd name="connsiteX26" fmla="*/ 2081 w 10000"/>
              <a:gd name="connsiteY26" fmla="*/ 2698 h 10000"/>
              <a:gd name="connsiteX27" fmla="*/ 2128 w 10000"/>
              <a:gd name="connsiteY27" fmla="*/ 3328 h 10000"/>
              <a:gd name="connsiteX28" fmla="*/ 2217 w 10000"/>
              <a:gd name="connsiteY28" fmla="*/ 1484 h 10000"/>
              <a:gd name="connsiteX29" fmla="*/ 2281 w 10000"/>
              <a:gd name="connsiteY29" fmla="*/ 3557 h 10000"/>
              <a:gd name="connsiteX30" fmla="*/ 2405 w 10000"/>
              <a:gd name="connsiteY30" fmla="*/ 2517 h 10000"/>
              <a:gd name="connsiteX31" fmla="*/ 2418 w 10000"/>
              <a:gd name="connsiteY31" fmla="*/ 1978 h 10000"/>
              <a:gd name="connsiteX32" fmla="*/ 2495 w 10000"/>
              <a:gd name="connsiteY32" fmla="*/ 2758 h 10000"/>
              <a:gd name="connsiteX33" fmla="*/ 2553 w 10000"/>
              <a:gd name="connsiteY33" fmla="*/ 2247 h 10000"/>
              <a:gd name="connsiteX34" fmla="*/ 2607 w 10000"/>
              <a:gd name="connsiteY34" fmla="*/ 2157 h 10000"/>
              <a:gd name="connsiteX35" fmla="*/ 2702 w 10000"/>
              <a:gd name="connsiteY35" fmla="*/ 1574 h 10000"/>
              <a:gd name="connsiteX36" fmla="*/ 2855 w 10000"/>
              <a:gd name="connsiteY36" fmla="*/ 1499 h 10000"/>
              <a:gd name="connsiteX37" fmla="*/ 3283 w 10000"/>
              <a:gd name="connsiteY37" fmla="*/ 1796 h 10000"/>
              <a:gd name="connsiteX38" fmla="*/ 3383 w 10000"/>
              <a:gd name="connsiteY38" fmla="*/ 2828 h 10000"/>
              <a:gd name="connsiteX39" fmla="*/ 3737 w 10000"/>
              <a:gd name="connsiteY39" fmla="*/ 2507 h 10000"/>
              <a:gd name="connsiteX40" fmla="*/ 3830 w 10000"/>
              <a:gd name="connsiteY40" fmla="*/ 1436 h 10000"/>
              <a:gd name="connsiteX41" fmla="*/ 3897 w 10000"/>
              <a:gd name="connsiteY41" fmla="*/ 1151 h 10000"/>
              <a:gd name="connsiteX42" fmla="*/ 4315 w 10000"/>
              <a:gd name="connsiteY42" fmla="*/ 6740 h 10000"/>
              <a:gd name="connsiteX43" fmla="*/ 4700 w 10000"/>
              <a:gd name="connsiteY43" fmla="*/ 6699 h 10000"/>
              <a:gd name="connsiteX44" fmla="*/ 5071 w 10000"/>
              <a:gd name="connsiteY44" fmla="*/ 739 h 10000"/>
              <a:gd name="connsiteX45" fmla="*/ 5369 w 10000"/>
              <a:gd name="connsiteY45" fmla="*/ 768 h 10000"/>
              <a:gd name="connsiteX46" fmla="*/ 5368 w 10000"/>
              <a:gd name="connsiteY46" fmla="*/ 747 h 10000"/>
              <a:gd name="connsiteX47" fmla="*/ 5871 w 10000"/>
              <a:gd name="connsiteY47" fmla="*/ 1290 h 10000"/>
              <a:gd name="connsiteX48" fmla="*/ 6035 w 10000"/>
              <a:gd name="connsiteY48" fmla="*/ 0 h 10000"/>
              <a:gd name="connsiteX49" fmla="*/ 6568 w 10000"/>
              <a:gd name="connsiteY49" fmla="*/ 111 h 10000"/>
              <a:gd name="connsiteX50" fmla="*/ 6873 w 10000"/>
              <a:gd name="connsiteY50" fmla="*/ 42 h 10000"/>
              <a:gd name="connsiteX51" fmla="*/ 7066 w 10000"/>
              <a:gd name="connsiteY51" fmla="*/ 362 h 10000"/>
              <a:gd name="connsiteX52" fmla="*/ 7376 w 10000"/>
              <a:gd name="connsiteY52" fmla="*/ 6050 h 10000"/>
              <a:gd name="connsiteX53" fmla="*/ 8212 w 10000"/>
              <a:gd name="connsiteY53" fmla="*/ 6037 h 10000"/>
              <a:gd name="connsiteX54" fmla="*/ 8406 w 10000"/>
              <a:gd name="connsiteY54" fmla="*/ 4934 h 10000"/>
              <a:gd name="connsiteX55" fmla="*/ 8534 w 10000"/>
              <a:gd name="connsiteY55" fmla="*/ 5543 h 10000"/>
              <a:gd name="connsiteX56" fmla="*/ 8617 w 10000"/>
              <a:gd name="connsiteY56" fmla="*/ 4997 h 10000"/>
              <a:gd name="connsiteX57" fmla="*/ 8681 w 10000"/>
              <a:gd name="connsiteY57" fmla="*/ 7677 h 10000"/>
              <a:gd name="connsiteX58" fmla="*/ 8746 w 10000"/>
              <a:gd name="connsiteY58" fmla="*/ 6591 h 10000"/>
              <a:gd name="connsiteX59" fmla="*/ 8839 w 10000"/>
              <a:gd name="connsiteY59" fmla="*/ 7814 h 10000"/>
              <a:gd name="connsiteX60" fmla="*/ 8891 w 10000"/>
              <a:gd name="connsiteY60" fmla="*/ 7594 h 10000"/>
              <a:gd name="connsiteX61" fmla="*/ 8917 w 10000"/>
              <a:gd name="connsiteY61" fmla="*/ 7970 h 10000"/>
              <a:gd name="connsiteX62" fmla="*/ 9011 w 10000"/>
              <a:gd name="connsiteY62" fmla="*/ 7983 h 10000"/>
              <a:gd name="connsiteX63" fmla="*/ 9017 w 10000"/>
              <a:gd name="connsiteY63" fmla="*/ 7710 h 10000"/>
              <a:gd name="connsiteX64" fmla="*/ 9127 w 10000"/>
              <a:gd name="connsiteY64" fmla="*/ 7929 h 10000"/>
              <a:gd name="connsiteX65" fmla="*/ 9189 w 10000"/>
              <a:gd name="connsiteY65" fmla="*/ 7833 h 10000"/>
              <a:gd name="connsiteX66" fmla="*/ 9213 w 10000"/>
              <a:gd name="connsiteY66" fmla="*/ 7373 h 10000"/>
              <a:gd name="connsiteX67" fmla="*/ 9247 w 10000"/>
              <a:gd name="connsiteY67" fmla="*/ 7816 h 10000"/>
              <a:gd name="connsiteX68" fmla="*/ 9324 w 10000"/>
              <a:gd name="connsiteY68" fmla="*/ 7586 h 10000"/>
              <a:gd name="connsiteX69" fmla="*/ 9435 w 10000"/>
              <a:gd name="connsiteY69" fmla="*/ 7709 h 10000"/>
              <a:gd name="connsiteX70" fmla="*/ 9494 w 10000"/>
              <a:gd name="connsiteY70" fmla="*/ 7970 h 10000"/>
              <a:gd name="connsiteX71" fmla="*/ 9527 w 10000"/>
              <a:gd name="connsiteY71" fmla="*/ 7732 h 10000"/>
              <a:gd name="connsiteX72" fmla="*/ 9585 w 10000"/>
              <a:gd name="connsiteY72" fmla="*/ 7935 h 10000"/>
              <a:gd name="connsiteX73" fmla="*/ 9625 w 10000"/>
              <a:gd name="connsiteY73" fmla="*/ 7240 h 10000"/>
              <a:gd name="connsiteX74" fmla="*/ 9728 w 10000"/>
              <a:gd name="connsiteY74" fmla="*/ 7911 h 10000"/>
              <a:gd name="connsiteX75" fmla="*/ 9838 w 10000"/>
              <a:gd name="connsiteY75" fmla="*/ 7568 h 10000"/>
              <a:gd name="connsiteX76" fmla="*/ 9840 w 10000"/>
              <a:gd name="connsiteY76" fmla="*/ 7290 h 10000"/>
              <a:gd name="connsiteX77" fmla="*/ 9924 w 10000"/>
              <a:gd name="connsiteY77" fmla="*/ 7601 h 10000"/>
              <a:gd name="connsiteX78" fmla="*/ 10000 w 10000"/>
              <a:gd name="connsiteY7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99 w 10000"/>
              <a:gd name="connsiteY3" fmla="*/ 1570 h 10000"/>
              <a:gd name="connsiteX4" fmla="*/ 812 w 10000"/>
              <a:gd name="connsiteY4" fmla="*/ 1596 h 10000"/>
              <a:gd name="connsiteX5" fmla="*/ 1055 w 10000"/>
              <a:gd name="connsiteY5" fmla="*/ 1574 h 10000"/>
              <a:gd name="connsiteX6" fmla="*/ 1161 w 10000"/>
              <a:gd name="connsiteY6" fmla="*/ 2522 h 10000"/>
              <a:gd name="connsiteX7" fmla="*/ 1218 w 10000"/>
              <a:gd name="connsiteY7" fmla="*/ 1574 h 10000"/>
              <a:gd name="connsiteX8" fmla="*/ 1272 w 10000"/>
              <a:gd name="connsiteY8" fmla="*/ 1844 h 10000"/>
              <a:gd name="connsiteX9" fmla="*/ 1312 w 10000"/>
              <a:gd name="connsiteY9" fmla="*/ 1484 h 10000"/>
              <a:gd name="connsiteX10" fmla="*/ 1359 w 10000"/>
              <a:gd name="connsiteY10" fmla="*/ 2571 h 10000"/>
              <a:gd name="connsiteX11" fmla="*/ 1434 w 10000"/>
              <a:gd name="connsiteY11" fmla="*/ 1305 h 10000"/>
              <a:gd name="connsiteX12" fmla="*/ 1437 w 10000"/>
              <a:gd name="connsiteY12" fmla="*/ 2314 h 10000"/>
              <a:gd name="connsiteX13" fmla="*/ 1498 w 10000"/>
              <a:gd name="connsiteY13" fmla="*/ 2668 h 10000"/>
              <a:gd name="connsiteX14" fmla="*/ 1545 w 10000"/>
              <a:gd name="connsiteY14" fmla="*/ 2453 h 10000"/>
              <a:gd name="connsiteX15" fmla="*/ 1569 w 10000"/>
              <a:gd name="connsiteY15" fmla="*/ 1755 h 10000"/>
              <a:gd name="connsiteX16" fmla="*/ 1660 w 10000"/>
              <a:gd name="connsiteY16" fmla="*/ 2668 h 10000"/>
              <a:gd name="connsiteX17" fmla="*/ 1735 w 10000"/>
              <a:gd name="connsiteY17" fmla="*/ 2297 h 10000"/>
              <a:gd name="connsiteX18" fmla="*/ 1772 w 10000"/>
              <a:gd name="connsiteY18" fmla="*/ 1124 h 10000"/>
              <a:gd name="connsiteX19" fmla="*/ 1797 w 10000"/>
              <a:gd name="connsiteY19" fmla="*/ 2433 h 10000"/>
              <a:gd name="connsiteX20" fmla="*/ 1825 w 10000"/>
              <a:gd name="connsiteY20" fmla="*/ 2115 h 10000"/>
              <a:gd name="connsiteX21" fmla="*/ 1835 w 10000"/>
              <a:gd name="connsiteY21" fmla="*/ 2340 h 10000"/>
              <a:gd name="connsiteX22" fmla="*/ 1893 w 10000"/>
              <a:gd name="connsiteY22" fmla="*/ 1797 h 10000"/>
              <a:gd name="connsiteX23" fmla="*/ 1988 w 10000"/>
              <a:gd name="connsiteY23" fmla="*/ 2380 h 10000"/>
              <a:gd name="connsiteX24" fmla="*/ 1983 w 10000"/>
              <a:gd name="connsiteY24" fmla="*/ 2928 h 10000"/>
              <a:gd name="connsiteX25" fmla="*/ 2044 w 10000"/>
              <a:gd name="connsiteY25" fmla="*/ 3277 h 10000"/>
              <a:gd name="connsiteX26" fmla="*/ 2081 w 10000"/>
              <a:gd name="connsiteY26" fmla="*/ 2698 h 10000"/>
              <a:gd name="connsiteX27" fmla="*/ 2128 w 10000"/>
              <a:gd name="connsiteY27" fmla="*/ 3328 h 10000"/>
              <a:gd name="connsiteX28" fmla="*/ 2217 w 10000"/>
              <a:gd name="connsiteY28" fmla="*/ 1484 h 10000"/>
              <a:gd name="connsiteX29" fmla="*/ 2281 w 10000"/>
              <a:gd name="connsiteY29" fmla="*/ 3557 h 10000"/>
              <a:gd name="connsiteX30" fmla="*/ 2405 w 10000"/>
              <a:gd name="connsiteY30" fmla="*/ 2517 h 10000"/>
              <a:gd name="connsiteX31" fmla="*/ 2418 w 10000"/>
              <a:gd name="connsiteY31" fmla="*/ 1978 h 10000"/>
              <a:gd name="connsiteX32" fmla="*/ 2495 w 10000"/>
              <a:gd name="connsiteY32" fmla="*/ 2758 h 10000"/>
              <a:gd name="connsiteX33" fmla="*/ 2553 w 10000"/>
              <a:gd name="connsiteY33" fmla="*/ 2247 h 10000"/>
              <a:gd name="connsiteX34" fmla="*/ 2607 w 10000"/>
              <a:gd name="connsiteY34" fmla="*/ 2157 h 10000"/>
              <a:gd name="connsiteX35" fmla="*/ 2702 w 10000"/>
              <a:gd name="connsiteY35" fmla="*/ 1574 h 10000"/>
              <a:gd name="connsiteX36" fmla="*/ 2855 w 10000"/>
              <a:gd name="connsiteY36" fmla="*/ 1499 h 10000"/>
              <a:gd name="connsiteX37" fmla="*/ 3283 w 10000"/>
              <a:gd name="connsiteY37" fmla="*/ 1796 h 10000"/>
              <a:gd name="connsiteX38" fmla="*/ 3383 w 10000"/>
              <a:gd name="connsiteY38" fmla="*/ 2828 h 10000"/>
              <a:gd name="connsiteX39" fmla="*/ 3737 w 10000"/>
              <a:gd name="connsiteY39" fmla="*/ 2507 h 10000"/>
              <a:gd name="connsiteX40" fmla="*/ 3830 w 10000"/>
              <a:gd name="connsiteY40" fmla="*/ 1436 h 10000"/>
              <a:gd name="connsiteX41" fmla="*/ 3897 w 10000"/>
              <a:gd name="connsiteY41" fmla="*/ 1151 h 10000"/>
              <a:gd name="connsiteX42" fmla="*/ 4315 w 10000"/>
              <a:gd name="connsiteY42" fmla="*/ 6740 h 10000"/>
              <a:gd name="connsiteX43" fmla="*/ 4700 w 10000"/>
              <a:gd name="connsiteY43" fmla="*/ 6699 h 10000"/>
              <a:gd name="connsiteX44" fmla="*/ 5071 w 10000"/>
              <a:gd name="connsiteY44" fmla="*/ 739 h 10000"/>
              <a:gd name="connsiteX45" fmla="*/ 5369 w 10000"/>
              <a:gd name="connsiteY45" fmla="*/ 768 h 10000"/>
              <a:gd name="connsiteX46" fmla="*/ 5368 w 10000"/>
              <a:gd name="connsiteY46" fmla="*/ 747 h 10000"/>
              <a:gd name="connsiteX47" fmla="*/ 5871 w 10000"/>
              <a:gd name="connsiteY47" fmla="*/ 1290 h 10000"/>
              <a:gd name="connsiteX48" fmla="*/ 6035 w 10000"/>
              <a:gd name="connsiteY48" fmla="*/ 0 h 10000"/>
              <a:gd name="connsiteX49" fmla="*/ 6568 w 10000"/>
              <a:gd name="connsiteY49" fmla="*/ 111 h 10000"/>
              <a:gd name="connsiteX50" fmla="*/ 6873 w 10000"/>
              <a:gd name="connsiteY50" fmla="*/ 42 h 10000"/>
              <a:gd name="connsiteX51" fmla="*/ 7066 w 10000"/>
              <a:gd name="connsiteY51" fmla="*/ 362 h 10000"/>
              <a:gd name="connsiteX52" fmla="*/ 7376 w 10000"/>
              <a:gd name="connsiteY52" fmla="*/ 6050 h 10000"/>
              <a:gd name="connsiteX53" fmla="*/ 8212 w 10000"/>
              <a:gd name="connsiteY53" fmla="*/ 6037 h 10000"/>
              <a:gd name="connsiteX54" fmla="*/ 8406 w 10000"/>
              <a:gd name="connsiteY54" fmla="*/ 4934 h 10000"/>
              <a:gd name="connsiteX55" fmla="*/ 8534 w 10000"/>
              <a:gd name="connsiteY55" fmla="*/ 5543 h 10000"/>
              <a:gd name="connsiteX56" fmla="*/ 8617 w 10000"/>
              <a:gd name="connsiteY56" fmla="*/ 4997 h 10000"/>
              <a:gd name="connsiteX57" fmla="*/ 8681 w 10000"/>
              <a:gd name="connsiteY57" fmla="*/ 7677 h 10000"/>
              <a:gd name="connsiteX58" fmla="*/ 8746 w 10000"/>
              <a:gd name="connsiteY58" fmla="*/ 6591 h 10000"/>
              <a:gd name="connsiteX59" fmla="*/ 8839 w 10000"/>
              <a:gd name="connsiteY59" fmla="*/ 7814 h 10000"/>
              <a:gd name="connsiteX60" fmla="*/ 8891 w 10000"/>
              <a:gd name="connsiteY60" fmla="*/ 7594 h 10000"/>
              <a:gd name="connsiteX61" fmla="*/ 8917 w 10000"/>
              <a:gd name="connsiteY61" fmla="*/ 7970 h 10000"/>
              <a:gd name="connsiteX62" fmla="*/ 9011 w 10000"/>
              <a:gd name="connsiteY62" fmla="*/ 7983 h 10000"/>
              <a:gd name="connsiteX63" fmla="*/ 9017 w 10000"/>
              <a:gd name="connsiteY63" fmla="*/ 7710 h 10000"/>
              <a:gd name="connsiteX64" fmla="*/ 9127 w 10000"/>
              <a:gd name="connsiteY64" fmla="*/ 7929 h 10000"/>
              <a:gd name="connsiteX65" fmla="*/ 9189 w 10000"/>
              <a:gd name="connsiteY65" fmla="*/ 7833 h 10000"/>
              <a:gd name="connsiteX66" fmla="*/ 9213 w 10000"/>
              <a:gd name="connsiteY66" fmla="*/ 7373 h 10000"/>
              <a:gd name="connsiteX67" fmla="*/ 9247 w 10000"/>
              <a:gd name="connsiteY67" fmla="*/ 7816 h 10000"/>
              <a:gd name="connsiteX68" fmla="*/ 9324 w 10000"/>
              <a:gd name="connsiteY68" fmla="*/ 7586 h 10000"/>
              <a:gd name="connsiteX69" fmla="*/ 9435 w 10000"/>
              <a:gd name="connsiteY69" fmla="*/ 7709 h 10000"/>
              <a:gd name="connsiteX70" fmla="*/ 9494 w 10000"/>
              <a:gd name="connsiteY70" fmla="*/ 7970 h 10000"/>
              <a:gd name="connsiteX71" fmla="*/ 9527 w 10000"/>
              <a:gd name="connsiteY71" fmla="*/ 7732 h 10000"/>
              <a:gd name="connsiteX72" fmla="*/ 9585 w 10000"/>
              <a:gd name="connsiteY72" fmla="*/ 7935 h 10000"/>
              <a:gd name="connsiteX73" fmla="*/ 9625 w 10000"/>
              <a:gd name="connsiteY73" fmla="*/ 7240 h 10000"/>
              <a:gd name="connsiteX74" fmla="*/ 9728 w 10000"/>
              <a:gd name="connsiteY74" fmla="*/ 7911 h 10000"/>
              <a:gd name="connsiteX75" fmla="*/ 9838 w 10000"/>
              <a:gd name="connsiteY75" fmla="*/ 7568 h 10000"/>
              <a:gd name="connsiteX76" fmla="*/ 9840 w 10000"/>
              <a:gd name="connsiteY76" fmla="*/ 7290 h 10000"/>
              <a:gd name="connsiteX77" fmla="*/ 9924 w 10000"/>
              <a:gd name="connsiteY77" fmla="*/ 7601 h 10000"/>
              <a:gd name="connsiteX78" fmla="*/ 10000 w 10000"/>
              <a:gd name="connsiteY7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99 w 10000"/>
              <a:gd name="connsiteY3" fmla="*/ 1570 h 10000"/>
              <a:gd name="connsiteX4" fmla="*/ 812 w 10000"/>
              <a:gd name="connsiteY4" fmla="*/ 1596 h 10000"/>
              <a:gd name="connsiteX5" fmla="*/ 1055 w 10000"/>
              <a:gd name="connsiteY5" fmla="*/ 1574 h 10000"/>
              <a:gd name="connsiteX6" fmla="*/ 1161 w 10000"/>
              <a:gd name="connsiteY6" fmla="*/ 2522 h 10000"/>
              <a:gd name="connsiteX7" fmla="*/ 1218 w 10000"/>
              <a:gd name="connsiteY7" fmla="*/ 1574 h 10000"/>
              <a:gd name="connsiteX8" fmla="*/ 1272 w 10000"/>
              <a:gd name="connsiteY8" fmla="*/ 1844 h 10000"/>
              <a:gd name="connsiteX9" fmla="*/ 1312 w 10000"/>
              <a:gd name="connsiteY9" fmla="*/ 1484 h 10000"/>
              <a:gd name="connsiteX10" fmla="*/ 1359 w 10000"/>
              <a:gd name="connsiteY10" fmla="*/ 2571 h 10000"/>
              <a:gd name="connsiteX11" fmla="*/ 1434 w 10000"/>
              <a:gd name="connsiteY11" fmla="*/ 1305 h 10000"/>
              <a:gd name="connsiteX12" fmla="*/ 1437 w 10000"/>
              <a:gd name="connsiteY12" fmla="*/ 2314 h 10000"/>
              <a:gd name="connsiteX13" fmla="*/ 1498 w 10000"/>
              <a:gd name="connsiteY13" fmla="*/ 2668 h 10000"/>
              <a:gd name="connsiteX14" fmla="*/ 1545 w 10000"/>
              <a:gd name="connsiteY14" fmla="*/ 2453 h 10000"/>
              <a:gd name="connsiteX15" fmla="*/ 1569 w 10000"/>
              <a:gd name="connsiteY15" fmla="*/ 1755 h 10000"/>
              <a:gd name="connsiteX16" fmla="*/ 1660 w 10000"/>
              <a:gd name="connsiteY16" fmla="*/ 2668 h 10000"/>
              <a:gd name="connsiteX17" fmla="*/ 1735 w 10000"/>
              <a:gd name="connsiteY17" fmla="*/ 2297 h 10000"/>
              <a:gd name="connsiteX18" fmla="*/ 1772 w 10000"/>
              <a:gd name="connsiteY18" fmla="*/ 1124 h 10000"/>
              <a:gd name="connsiteX19" fmla="*/ 1797 w 10000"/>
              <a:gd name="connsiteY19" fmla="*/ 2433 h 10000"/>
              <a:gd name="connsiteX20" fmla="*/ 1825 w 10000"/>
              <a:gd name="connsiteY20" fmla="*/ 2115 h 10000"/>
              <a:gd name="connsiteX21" fmla="*/ 1835 w 10000"/>
              <a:gd name="connsiteY21" fmla="*/ 2340 h 10000"/>
              <a:gd name="connsiteX22" fmla="*/ 1893 w 10000"/>
              <a:gd name="connsiteY22" fmla="*/ 1797 h 10000"/>
              <a:gd name="connsiteX23" fmla="*/ 1988 w 10000"/>
              <a:gd name="connsiteY23" fmla="*/ 2380 h 10000"/>
              <a:gd name="connsiteX24" fmla="*/ 1983 w 10000"/>
              <a:gd name="connsiteY24" fmla="*/ 2928 h 10000"/>
              <a:gd name="connsiteX25" fmla="*/ 2044 w 10000"/>
              <a:gd name="connsiteY25" fmla="*/ 3277 h 10000"/>
              <a:gd name="connsiteX26" fmla="*/ 2081 w 10000"/>
              <a:gd name="connsiteY26" fmla="*/ 2698 h 10000"/>
              <a:gd name="connsiteX27" fmla="*/ 2128 w 10000"/>
              <a:gd name="connsiteY27" fmla="*/ 3328 h 10000"/>
              <a:gd name="connsiteX28" fmla="*/ 2217 w 10000"/>
              <a:gd name="connsiteY28" fmla="*/ 1484 h 10000"/>
              <a:gd name="connsiteX29" fmla="*/ 2281 w 10000"/>
              <a:gd name="connsiteY29" fmla="*/ 3557 h 10000"/>
              <a:gd name="connsiteX30" fmla="*/ 2405 w 10000"/>
              <a:gd name="connsiteY30" fmla="*/ 2517 h 10000"/>
              <a:gd name="connsiteX31" fmla="*/ 2418 w 10000"/>
              <a:gd name="connsiteY31" fmla="*/ 1978 h 10000"/>
              <a:gd name="connsiteX32" fmla="*/ 2495 w 10000"/>
              <a:gd name="connsiteY32" fmla="*/ 2758 h 10000"/>
              <a:gd name="connsiteX33" fmla="*/ 2553 w 10000"/>
              <a:gd name="connsiteY33" fmla="*/ 2247 h 10000"/>
              <a:gd name="connsiteX34" fmla="*/ 2607 w 10000"/>
              <a:gd name="connsiteY34" fmla="*/ 2157 h 10000"/>
              <a:gd name="connsiteX35" fmla="*/ 2702 w 10000"/>
              <a:gd name="connsiteY35" fmla="*/ 1574 h 10000"/>
              <a:gd name="connsiteX36" fmla="*/ 2855 w 10000"/>
              <a:gd name="connsiteY36" fmla="*/ 1499 h 10000"/>
              <a:gd name="connsiteX37" fmla="*/ 3283 w 10000"/>
              <a:gd name="connsiteY37" fmla="*/ 1796 h 10000"/>
              <a:gd name="connsiteX38" fmla="*/ 3383 w 10000"/>
              <a:gd name="connsiteY38" fmla="*/ 2828 h 10000"/>
              <a:gd name="connsiteX39" fmla="*/ 3737 w 10000"/>
              <a:gd name="connsiteY39" fmla="*/ 2507 h 10000"/>
              <a:gd name="connsiteX40" fmla="*/ 3830 w 10000"/>
              <a:gd name="connsiteY40" fmla="*/ 1436 h 10000"/>
              <a:gd name="connsiteX41" fmla="*/ 3897 w 10000"/>
              <a:gd name="connsiteY41" fmla="*/ 1151 h 10000"/>
              <a:gd name="connsiteX42" fmla="*/ 4315 w 10000"/>
              <a:gd name="connsiteY42" fmla="*/ 6740 h 10000"/>
              <a:gd name="connsiteX43" fmla="*/ 4700 w 10000"/>
              <a:gd name="connsiteY43" fmla="*/ 6699 h 10000"/>
              <a:gd name="connsiteX44" fmla="*/ 5071 w 10000"/>
              <a:gd name="connsiteY44" fmla="*/ 739 h 10000"/>
              <a:gd name="connsiteX45" fmla="*/ 5369 w 10000"/>
              <a:gd name="connsiteY45" fmla="*/ 768 h 10000"/>
              <a:gd name="connsiteX46" fmla="*/ 5368 w 10000"/>
              <a:gd name="connsiteY46" fmla="*/ 747 h 10000"/>
              <a:gd name="connsiteX47" fmla="*/ 5871 w 10000"/>
              <a:gd name="connsiteY47" fmla="*/ 1290 h 10000"/>
              <a:gd name="connsiteX48" fmla="*/ 6035 w 10000"/>
              <a:gd name="connsiteY48" fmla="*/ 0 h 10000"/>
              <a:gd name="connsiteX49" fmla="*/ 6568 w 10000"/>
              <a:gd name="connsiteY49" fmla="*/ 111 h 10000"/>
              <a:gd name="connsiteX50" fmla="*/ 6873 w 10000"/>
              <a:gd name="connsiteY50" fmla="*/ 42 h 10000"/>
              <a:gd name="connsiteX51" fmla="*/ 7066 w 10000"/>
              <a:gd name="connsiteY51" fmla="*/ 362 h 10000"/>
              <a:gd name="connsiteX52" fmla="*/ 7376 w 10000"/>
              <a:gd name="connsiteY52" fmla="*/ 6050 h 10000"/>
              <a:gd name="connsiteX53" fmla="*/ 8212 w 10000"/>
              <a:gd name="connsiteY53" fmla="*/ 6037 h 10000"/>
              <a:gd name="connsiteX54" fmla="*/ 8406 w 10000"/>
              <a:gd name="connsiteY54" fmla="*/ 4934 h 10000"/>
              <a:gd name="connsiteX55" fmla="*/ 8534 w 10000"/>
              <a:gd name="connsiteY55" fmla="*/ 5543 h 10000"/>
              <a:gd name="connsiteX56" fmla="*/ 8617 w 10000"/>
              <a:gd name="connsiteY56" fmla="*/ 4997 h 10000"/>
              <a:gd name="connsiteX57" fmla="*/ 8681 w 10000"/>
              <a:gd name="connsiteY57" fmla="*/ 7677 h 10000"/>
              <a:gd name="connsiteX58" fmla="*/ 8746 w 10000"/>
              <a:gd name="connsiteY58" fmla="*/ 6591 h 10000"/>
              <a:gd name="connsiteX59" fmla="*/ 8839 w 10000"/>
              <a:gd name="connsiteY59" fmla="*/ 7814 h 10000"/>
              <a:gd name="connsiteX60" fmla="*/ 8891 w 10000"/>
              <a:gd name="connsiteY60" fmla="*/ 7594 h 10000"/>
              <a:gd name="connsiteX61" fmla="*/ 8917 w 10000"/>
              <a:gd name="connsiteY61" fmla="*/ 7970 h 10000"/>
              <a:gd name="connsiteX62" fmla="*/ 9011 w 10000"/>
              <a:gd name="connsiteY62" fmla="*/ 7983 h 10000"/>
              <a:gd name="connsiteX63" fmla="*/ 9017 w 10000"/>
              <a:gd name="connsiteY63" fmla="*/ 7710 h 10000"/>
              <a:gd name="connsiteX64" fmla="*/ 9127 w 10000"/>
              <a:gd name="connsiteY64" fmla="*/ 7929 h 10000"/>
              <a:gd name="connsiteX65" fmla="*/ 9189 w 10000"/>
              <a:gd name="connsiteY65" fmla="*/ 7833 h 10000"/>
              <a:gd name="connsiteX66" fmla="*/ 9213 w 10000"/>
              <a:gd name="connsiteY66" fmla="*/ 7373 h 10000"/>
              <a:gd name="connsiteX67" fmla="*/ 9247 w 10000"/>
              <a:gd name="connsiteY67" fmla="*/ 7816 h 10000"/>
              <a:gd name="connsiteX68" fmla="*/ 9324 w 10000"/>
              <a:gd name="connsiteY68" fmla="*/ 7586 h 10000"/>
              <a:gd name="connsiteX69" fmla="*/ 9435 w 10000"/>
              <a:gd name="connsiteY69" fmla="*/ 7709 h 10000"/>
              <a:gd name="connsiteX70" fmla="*/ 9494 w 10000"/>
              <a:gd name="connsiteY70" fmla="*/ 7970 h 10000"/>
              <a:gd name="connsiteX71" fmla="*/ 9527 w 10000"/>
              <a:gd name="connsiteY71" fmla="*/ 7732 h 10000"/>
              <a:gd name="connsiteX72" fmla="*/ 9585 w 10000"/>
              <a:gd name="connsiteY72" fmla="*/ 7935 h 10000"/>
              <a:gd name="connsiteX73" fmla="*/ 9625 w 10000"/>
              <a:gd name="connsiteY73" fmla="*/ 7240 h 10000"/>
              <a:gd name="connsiteX74" fmla="*/ 9728 w 10000"/>
              <a:gd name="connsiteY74" fmla="*/ 7911 h 10000"/>
              <a:gd name="connsiteX75" fmla="*/ 9838 w 10000"/>
              <a:gd name="connsiteY75" fmla="*/ 7568 h 10000"/>
              <a:gd name="connsiteX76" fmla="*/ 9840 w 10000"/>
              <a:gd name="connsiteY76" fmla="*/ 7290 h 10000"/>
              <a:gd name="connsiteX77" fmla="*/ 9924 w 10000"/>
              <a:gd name="connsiteY77" fmla="*/ 7601 h 10000"/>
              <a:gd name="connsiteX78" fmla="*/ 10000 w 10000"/>
              <a:gd name="connsiteY7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57 w 10000"/>
              <a:gd name="connsiteY3" fmla="*/ 1570 h 10000"/>
              <a:gd name="connsiteX4" fmla="*/ 812 w 10000"/>
              <a:gd name="connsiteY4" fmla="*/ 1596 h 10000"/>
              <a:gd name="connsiteX5" fmla="*/ 1055 w 10000"/>
              <a:gd name="connsiteY5" fmla="*/ 1574 h 10000"/>
              <a:gd name="connsiteX6" fmla="*/ 1161 w 10000"/>
              <a:gd name="connsiteY6" fmla="*/ 2522 h 10000"/>
              <a:gd name="connsiteX7" fmla="*/ 1218 w 10000"/>
              <a:gd name="connsiteY7" fmla="*/ 1574 h 10000"/>
              <a:gd name="connsiteX8" fmla="*/ 1272 w 10000"/>
              <a:gd name="connsiteY8" fmla="*/ 1844 h 10000"/>
              <a:gd name="connsiteX9" fmla="*/ 1312 w 10000"/>
              <a:gd name="connsiteY9" fmla="*/ 1484 h 10000"/>
              <a:gd name="connsiteX10" fmla="*/ 1359 w 10000"/>
              <a:gd name="connsiteY10" fmla="*/ 2571 h 10000"/>
              <a:gd name="connsiteX11" fmla="*/ 1434 w 10000"/>
              <a:gd name="connsiteY11" fmla="*/ 1305 h 10000"/>
              <a:gd name="connsiteX12" fmla="*/ 1437 w 10000"/>
              <a:gd name="connsiteY12" fmla="*/ 2314 h 10000"/>
              <a:gd name="connsiteX13" fmla="*/ 1498 w 10000"/>
              <a:gd name="connsiteY13" fmla="*/ 2668 h 10000"/>
              <a:gd name="connsiteX14" fmla="*/ 1545 w 10000"/>
              <a:gd name="connsiteY14" fmla="*/ 2453 h 10000"/>
              <a:gd name="connsiteX15" fmla="*/ 1569 w 10000"/>
              <a:gd name="connsiteY15" fmla="*/ 1755 h 10000"/>
              <a:gd name="connsiteX16" fmla="*/ 1660 w 10000"/>
              <a:gd name="connsiteY16" fmla="*/ 2668 h 10000"/>
              <a:gd name="connsiteX17" fmla="*/ 1735 w 10000"/>
              <a:gd name="connsiteY17" fmla="*/ 2297 h 10000"/>
              <a:gd name="connsiteX18" fmla="*/ 1772 w 10000"/>
              <a:gd name="connsiteY18" fmla="*/ 1124 h 10000"/>
              <a:gd name="connsiteX19" fmla="*/ 1797 w 10000"/>
              <a:gd name="connsiteY19" fmla="*/ 2433 h 10000"/>
              <a:gd name="connsiteX20" fmla="*/ 1825 w 10000"/>
              <a:gd name="connsiteY20" fmla="*/ 2115 h 10000"/>
              <a:gd name="connsiteX21" fmla="*/ 1835 w 10000"/>
              <a:gd name="connsiteY21" fmla="*/ 2340 h 10000"/>
              <a:gd name="connsiteX22" fmla="*/ 1893 w 10000"/>
              <a:gd name="connsiteY22" fmla="*/ 1797 h 10000"/>
              <a:gd name="connsiteX23" fmla="*/ 1988 w 10000"/>
              <a:gd name="connsiteY23" fmla="*/ 2380 h 10000"/>
              <a:gd name="connsiteX24" fmla="*/ 1983 w 10000"/>
              <a:gd name="connsiteY24" fmla="*/ 2928 h 10000"/>
              <a:gd name="connsiteX25" fmla="*/ 2044 w 10000"/>
              <a:gd name="connsiteY25" fmla="*/ 3277 h 10000"/>
              <a:gd name="connsiteX26" fmla="*/ 2081 w 10000"/>
              <a:gd name="connsiteY26" fmla="*/ 2698 h 10000"/>
              <a:gd name="connsiteX27" fmla="*/ 2128 w 10000"/>
              <a:gd name="connsiteY27" fmla="*/ 3328 h 10000"/>
              <a:gd name="connsiteX28" fmla="*/ 2217 w 10000"/>
              <a:gd name="connsiteY28" fmla="*/ 1484 h 10000"/>
              <a:gd name="connsiteX29" fmla="*/ 2281 w 10000"/>
              <a:gd name="connsiteY29" fmla="*/ 3557 h 10000"/>
              <a:gd name="connsiteX30" fmla="*/ 2405 w 10000"/>
              <a:gd name="connsiteY30" fmla="*/ 2517 h 10000"/>
              <a:gd name="connsiteX31" fmla="*/ 2418 w 10000"/>
              <a:gd name="connsiteY31" fmla="*/ 1978 h 10000"/>
              <a:gd name="connsiteX32" fmla="*/ 2495 w 10000"/>
              <a:gd name="connsiteY32" fmla="*/ 2758 h 10000"/>
              <a:gd name="connsiteX33" fmla="*/ 2553 w 10000"/>
              <a:gd name="connsiteY33" fmla="*/ 2247 h 10000"/>
              <a:gd name="connsiteX34" fmla="*/ 2607 w 10000"/>
              <a:gd name="connsiteY34" fmla="*/ 2157 h 10000"/>
              <a:gd name="connsiteX35" fmla="*/ 2702 w 10000"/>
              <a:gd name="connsiteY35" fmla="*/ 1574 h 10000"/>
              <a:gd name="connsiteX36" fmla="*/ 2855 w 10000"/>
              <a:gd name="connsiteY36" fmla="*/ 1499 h 10000"/>
              <a:gd name="connsiteX37" fmla="*/ 3283 w 10000"/>
              <a:gd name="connsiteY37" fmla="*/ 1796 h 10000"/>
              <a:gd name="connsiteX38" fmla="*/ 3383 w 10000"/>
              <a:gd name="connsiteY38" fmla="*/ 2828 h 10000"/>
              <a:gd name="connsiteX39" fmla="*/ 3737 w 10000"/>
              <a:gd name="connsiteY39" fmla="*/ 2507 h 10000"/>
              <a:gd name="connsiteX40" fmla="*/ 3830 w 10000"/>
              <a:gd name="connsiteY40" fmla="*/ 1436 h 10000"/>
              <a:gd name="connsiteX41" fmla="*/ 3897 w 10000"/>
              <a:gd name="connsiteY41" fmla="*/ 1151 h 10000"/>
              <a:gd name="connsiteX42" fmla="*/ 4315 w 10000"/>
              <a:gd name="connsiteY42" fmla="*/ 6740 h 10000"/>
              <a:gd name="connsiteX43" fmla="*/ 4700 w 10000"/>
              <a:gd name="connsiteY43" fmla="*/ 6699 h 10000"/>
              <a:gd name="connsiteX44" fmla="*/ 5071 w 10000"/>
              <a:gd name="connsiteY44" fmla="*/ 739 h 10000"/>
              <a:gd name="connsiteX45" fmla="*/ 5369 w 10000"/>
              <a:gd name="connsiteY45" fmla="*/ 768 h 10000"/>
              <a:gd name="connsiteX46" fmla="*/ 5368 w 10000"/>
              <a:gd name="connsiteY46" fmla="*/ 747 h 10000"/>
              <a:gd name="connsiteX47" fmla="*/ 5871 w 10000"/>
              <a:gd name="connsiteY47" fmla="*/ 1290 h 10000"/>
              <a:gd name="connsiteX48" fmla="*/ 6035 w 10000"/>
              <a:gd name="connsiteY48" fmla="*/ 0 h 10000"/>
              <a:gd name="connsiteX49" fmla="*/ 6568 w 10000"/>
              <a:gd name="connsiteY49" fmla="*/ 111 h 10000"/>
              <a:gd name="connsiteX50" fmla="*/ 6873 w 10000"/>
              <a:gd name="connsiteY50" fmla="*/ 42 h 10000"/>
              <a:gd name="connsiteX51" fmla="*/ 7066 w 10000"/>
              <a:gd name="connsiteY51" fmla="*/ 362 h 10000"/>
              <a:gd name="connsiteX52" fmla="*/ 7376 w 10000"/>
              <a:gd name="connsiteY52" fmla="*/ 6050 h 10000"/>
              <a:gd name="connsiteX53" fmla="*/ 8212 w 10000"/>
              <a:gd name="connsiteY53" fmla="*/ 6037 h 10000"/>
              <a:gd name="connsiteX54" fmla="*/ 8406 w 10000"/>
              <a:gd name="connsiteY54" fmla="*/ 4934 h 10000"/>
              <a:gd name="connsiteX55" fmla="*/ 8534 w 10000"/>
              <a:gd name="connsiteY55" fmla="*/ 5543 h 10000"/>
              <a:gd name="connsiteX56" fmla="*/ 8617 w 10000"/>
              <a:gd name="connsiteY56" fmla="*/ 4997 h 10000"/>
              <a:gd name="connsiteX57" fmla="*/ 8681 w 10000"/>
              <a:gd name="connsiteY57" fmla="*/ 7677 h 10000"/>
              <a:gd name="connsiteX58" fmla="*/ 8746 w 10000"/>
              <a:gd name="connsiteY58" fmla="*/ 6591 h 10000"/>
              <a:gd name="connsiteX59" fmla="*/ 8839 w 10000"/>
              <a:gd name="connsiteY59" fmla="*/ 7814 h 10000"/>
              <a:gd name="connsiteX60" fmla="*/ 8891 w 10000"/>
              <a:gd name="connsiteY60" fmla="*/ 7594 h 10000"/>
              <a:gd name="connsiteX61" fmla="*/ 8917 w 10000"/>
              <a:gd name="connsiteY61" fmla="*/ 7970 h 10000"/>
              <a:gd name="connsiteX62" fmla="*/ 9011 w 10000"/>
              <a:gd name="connsiteY62" fmla="*/ 7983 h 10000"/>
              <a:gd name="connsiteX63" fmla="*/ 9017 w 10000"/>
              <a:gd name="connsiteY63" fmla="*/ 7710 h 10000"/>
              <a:gd name="connsiteX64" fmla="*/ 9127 w 10000"/>
              <a:gd name="connsiteY64" fmla="*/ 7929 h 10000"/>
              <a:gd name="connsiteX65" fmla="*/ 9189 w 10000"/>
              <a:gd name="connsiteY65" fmla="*/ 7833 h 10000"/>
              <a:gd name="connsiteX66" fmla="*/ 9213 w 10000"/>
              <a:gd name="connsiteY66" fmla="*/ 7373 h 10000"/>
              <a:gd name="connsiteX67" fmla="*/ 9247 w 10000"/>
              <a:gd name="connsiteY67" fmla="*/ 7816 h 10000"/>
              <a:gd name="connsiteX68" fmla="*/ 9324 w 10000"/>
              <a:gd name="connsiteY68" fmla="*/ 7586 h 10000"/>
              <a:gd name="connsiteX69" fmla="*/ 9435 w 10000"/>
              <a:gd name="connsiteY69" fmla="*/ 7709 h 10000"/>
              <a:gd name="connsiteX70" fmla="*/ 9494 w 10000"/>
              <a:gd name="connsiteY70" fmla="*/ 7970 h 10000"/>
              <a:gd name="connsiteX71" fmla="*/ 9527 w 10000"/>
              <a:gd name="connsiteY71" fmla="*/ 7732 h 10000"/>
              <a:gd name="connsiteX72" fmla="*/ 9585 w 10000"/>
              <a:gd name="connsiteY72" fmla="*/ 7935 h 10000"/>
              <a:gd name="connsiteX73" fmla="*/ 9625 w 10000"/>
              <a:gd name="connsiteY73" fmla="*/ 7240 h 10000"/>
              <a:gd name="connsiteX74" fmla="*/ 9728 w 10000"/>
              <a:gd name="connsiteY74" fmla="*/ 7911 h 10000"/>
              <a:gd name="connsiteX75" fmla="*/ 9838 w 10000"/>
              <a:gd name="connsiteY75" fmla="*/ 7568 h 10000"/>
              <a:gd name="connsiteX76" fmla="*/ 9840 w 10000"/>
              <a:gd name="connsiteY76" fmla="*/ 7290 h 10000"/>
              <a:gd name="connsiteX77" fmla="*/ 9924 w 10000"/>
              <a:gd name="connsiteY77" fmla="*/ 7601 h 10000"/>
              <a:gd name="connsiteX78" fmla="*/ 10000 w 10000"/>
              <a:gd name="connsiteY7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57 w 10000"/>
              <a:gd name="connsiteY3" fmla="*/ 1570 h 10000"/>
              <a:gd name="connsiteX4" fmla="*/ 812 w 10000"/>
              <a:gd name="connsiteY4" fmla="*/ 1596 h 10000"/>
              <a:gd name="connsiteX5" fmla="*/ 1055 w 10000"/>
              <a:gd name="connsiteY5" fmla="*/ 1574 h 10000"/>
              <a:gd name="connsiteX6" fmla="*/ 1161 w 10000"/>
              <a:gd name="connsiteY6" fmla="*/ 2522 h 10000"/>
              <a:gd name="connsiteX7" fmla="*/ 1218 w 10000"/>
              <a:gd name="connsiteY7" fmla="*/ 1574 h 10000"/>
              <a:gd name="connsiteX8" fmla="*/ 1272 w 10000"/>
              <a:gd name="connsiteY8" fmla="*/ 1844 h 10000"/>
              <a:gd name="connsiteX9" fmla="*/ 1312 w 10000"/>
              <a:gd name="connsiteY9" fmla="*/ 1484 h 10000"/>
              <a:gd name="connsiteX10" fmla="*/ 1359 w 10000"/>
              <a:gd name="connsiteY10" fmla="*/ 2571 h 10000"/>
              <a:gd name="connsiteX11" fmla="*/ 1434 w 10000"/>
              <a:gd name="connsiteY11" fmla="*/ 1305 h 10000"/>
              <a:gd name="connsiteX12" fmla="*/ 1437 w 10000"/>
              <a:gd name="connsiteY12" fmla="*/ 2314 h 10000"/>
              <a:gd name="connsiteX13" fmla="*/ 1498 w 10000"/>
              <a:gd name="connsiteY13" fmla="*/ 2668 h 10000"/>
              <a:gd name="connsiteX14" fmla="*/ 1545 w 10000"/>
              <a:gd name="connsiteY14" fmla="*/ 2453 h 10000"/>
              <a:gd name="connsiteX15" fmla="*/ 1569 w 10000"/>
              <a:gd name="connsiteY15" fmla="*/ 1755 h 10000"/>
              <a:gd name="connsiteX16" fmla="*/ 1660 w 10000"/>
              <a:gd name="connsiteY16" fmla="*/ 2668 h 10000"/>
              <a:gd name="connsiteX17" fmla="*/ 1735 w 10000"/>
              <a:gd name="connsiteY17" fmla="*/ 2297 h 10000"/>
              <a:gd name="connsiteX18" fmla="*/ 1772 w 10000"/>
              <a:gd name="connsiteY18" fmla="*/ 1124 h 10000"/>
              <a:gd name="connsiteX19" fmla="*/ 1797 w 10000"/>
              <a:gd name="connsiteY19" fmla="*/ 2433 h 10000"/>
              <a:gd name="connsiteX20" fmla="*/ 1825 w 10000"/>
              <a:gd name="connsiteY20" fmla="*/ 2115 h 10000"/>
              <a:gd name="connsiteX21" fmla="*/ 1835 w 10000"/>
              <a:gd name="connsiteY21" fmla="*/ 2340 h 10000"/>
              <a:gd name="connsiteX22" fmla="*/ 1893 w 10000"/>
              <a:gd name="connsiteY22" fmla="*/ 1797 h 10000"/>
              <a:gd name="connsiteX23" fmla="*/ 1988 w 10000"/>
              <a:gd name="connsiteY23" fmla="*/ 2380 h 10000"/>
              <a:gd name="connsiteX24" fmla="*/ 1983 w 10000"/>
              <a:gd name="connsiteY24" fmla="*/ 2928 h 10000"/>
              <a:gd name="connsiteX25" fmla="*/ 2044 w 10000"/>
              <a:gd name="connsiteY25" fmla="*/ 3277 h 10000"/>
              <a:gd name="connsiteX26" fmla="*/ 2081 w 10000"/>
              <a:gd name="connsiteY26" fmla="*/ 2698 h 10000"/>
              <a:gd name="connsiteX27" fmla="*/ 2128 w 10000"/>
              <a:gd name="connsiteY27" fmla="*/ 3328 h 10000"/>
              <a:gd name="connsiteX28" fmla="*/ 2217 w 10000"/>
              <a:gd name="connsiteY28" fmla="*/ 1484 h 10000"/>
              <a:gd name="connsiteX29" fmla="*/ 2281 w 10000"/>
              <a:gd name="connsiteY29" fmla="*/ 3557 h 10000"/>
              <a:gd name="connsiteX30" fmla="*/ 2405 w 10000"/>
              <a:gd name="connsiteY30" fmla="*/ 2517 h 10000"/>
              <a:gd name="connsiteX31" fmla="*/ 2418 w 10000"/>
              <a:gd name="connsiteY31" fmla="*/ 1978 h 10000"/>
              <a:gd name="connsiteX32" fmla="*/ 2495 w 10000"/>
              <a:gd name="connsiteY32" fmla="*/ 2758 h 10000"/>
              <a:gd name="connsiteX33" fmla="*/ 2553 w 10000"/>
              <a:gd name="connsiteY33" fmla="*/ 2247 h 10000"/>
              <a:gd name="connsiteX34" fmla="*/ 2607 w 10000"/>
              <a:gd name="connsiteY34" fmla="*/ 2157 h 10000"/>
              <a:gd name="connsiteX35" fmla="*/ 2702 w 10000"/>
              <a:gd name="connsiteY35" fmla="*/ 1574 h 10000"/>
              <a:gd name="connsiteX36" fmla="*/ 2855 w 10000"/>
              <a:gd name="connsiteY36" fmla="*/ 1499 h 10000"/>
              <a:gd name="connsiteX37" fmla="*/ 3283 w 10000"/>
              <a:gd name="connsiteY37" fmla="*/ 1796 h 10000"/>
              <a:gd name="connsiteX38" fmla="*/ 3383 w 10000"/>
              <a:gd name="connsiteY38" fmla="*/ 2828 h 10000"/>
              <a:gd name="connsiteX39" fmla="*/ 3737 w 10000"/>
              <a:gd name="connsiteY39" fmla="*/ 2507 h 10000"/>
              <a:gd name="connsiteX40" fmla="*/ 3830 w 10000"/>
              <a:gd name="connsiteY40" fmla="*/ 1436 h 10000"/>
              <a:gd name="connsiteX41" fmla="*/ 3897 w 10000"/>
              <a:gd name="connsiteY41" fmla="*/ 1151 h 10000"/>
              <a:gd name="connsiteX42" fmla="*/ 4315 w 10000"/>
              <a:gd name="connsiteY42" fmla="*/ 6740 h 10000"/>
              <a:gd name="connsiteX43" fmla="*/ 4700 w 10000"/>
              <a:gd name="connsiteY43" fmla="*/ 6699 h 10000"/>
              <a:gd name="connsiteX44" fmla="*/ 5071 w 10000"/>
              <a:gd name="connsiteY44" fmla="*/ 739 h 10000"/>
              <a:gd name="connsiteX45" fmla="*/ 5369 w 10000"/>
              <a:gd name="connsiteY45" fmla="*/ 768 h 10000"/>
              <a:gd name="connsiteX46" fmla="*/ 5368 w 10000"/>
              <a:gd name="connsiteY46" fmla="*/ 747 h 10000"/>
              <a:gd name="connsiteX47" fmla="*/ 5871 w 10000"/>
              <a:gd name="connsiteY47" fmla="*/ 1290 h 10000"/>
              <a:gd name="connsiteX48" fmla="*/ 6035 w 10000"/>
              <a:gd name="connsiteY48" fmla="*/ 0 h 10000"/>
              <a:gd name="connsiteX49" fmla="*/ 6568 w 10000"/>
              <a:gd name="connsiteY49" fmla="*/ 111 h 10000"/>
              <a:gd name="connsiteX50" fmla="*/ 6873 w 10000"/>
              <a:gd name="connsiteY50" fmla="*/ 42 h 10000"/>
              <a:gd name="connsiteX51" fmla="*/ 7066 w 10000"/>
              <a:gd name="connsiteY51" fmla="*/ 362 h 10000"/>
              <a:gd name="connsiteX52" fmla="*/ 7376 w 10000"/>
              <a:gd name="connsiteY52" fmla="*/ 6050 h 10000"/>
              <a:gd name="connsiteX53" fmla="*/ 8212 w 10000"/>
              <a:gd name="connsiteY53" fmla="*/ 6037 h 10000"/>
              <a:gd name="connsiteX54" fmla="*/ 8406 w 10000"/>
              <a:gd name="connsiteY54" fmla="*/ 4934 h 10000"/>
              <a:gd name="connsiteX55" fmla="*/ 8534 w 10000"/>
              <a:gd name="connsiteY55" fmla="*/ 5543 h 10000"/>
              <a:gd name="connsiteX56" fmla="*/ 8617 w 10000"/>
              <a:gd name="connsiteY56" fmla="*/ 4997 h 10000"/>
              <a:gd name="connsiteX57" fmla="*/ 8681 w 10000"/>
              <a:gd name="connsiteY57" fmla="*/ 7677 h 10000"/>
              <a:gd name="connsiteX58" fmla="*/ 8746 w 10000"/>
              <a:gd name="connsiteY58" fmla="*/ 6591 h 10000"/>
              <a:gd name="connsiteX59" fmla="*/ 8839 w 10000"/>
              <a:gd name="connsiteY59" fmla="*/ 7814 h 10000"/>
              <a:gd name="connsiteX60" fmla="*/ 8891 w 10000"/>
              <a:gd name="connsiteY60" fmla="*/ 7594 h 10000"/>
              <a:gd name="connsiteX61" fmla="*/ 8917 w 10000"/>
              <a:gd name="connsiteY61" fmla="*/ 7970 h 10000"/>
              <a:gd name="connsiteX62" fmla="*/ 9011 w 10000"/>
              <a:gd name="connsiteY62" fmla="*/ 7983 h 10000"/>
              <a:gd name="connsiteX63" fmla="*/ 9017 w 10000"/>
              <a:gd name="connsiteY63" fmla="*/ 7710 h 10000"/>
              <a:gd name="connsiteX64" fmla="*/ 9127 w 10000"/>
              <a:gd name="connsiteY64" fmla="*/ 7929 h 10000"/>
              <a:gd name="connsiteX65" fmla="*/ 9189 w 10000"/>
              <a:gd name="connsiteY65" fmla="*/ 7833 h 10000"/>
              <a:gd name="connsiteX66" fmla="*/ 9213 w 10000"/>
              <a:gd name="connsiteY66" fmla="*/ 7373 h 10000"/>
              <a:gd name="connsiteX67" fmla="*/ 9247 w 10000"/>
              <a:gd name="connsiteY67" fmla="*/ 7816 h 10000"/>
              <a:gd name="connsiteX68" fmla="*/ 9324 w 10000"/>
              <a:gd name="connsiteY68" fmla="*/ 7586 h 10000"/>
              <a:gd name="connsiteX69" fmla="*/ 9435 w 10000"/>
              <a:gd name="connsiteY69" fmla="*/ 7709 h 10000"/>
              <a:gd name="connsiteX70" fmla="*/ 9494 w 10000"/>
              <a:gd name="connsiteY70" fmla="*/ 7970 h 10000"/>
              <a:gd name="connsiteX71" fmla="*/ 9527 w 10000"/>
              <a:gd name="connsiteY71" fmla="*/ 7732 h 10000"/>
              <a:gd name="connsiteX72" fmla="*/ 9585 w 10000"/>
              <a:gd name="connsiteY72" fmla="*/ 7935 h 10000"/>
              <a:gd name="connsiteX73" fmla="*/ 9625 w 10000"/>
              <a:gd name="connsiteY73" fmla="*/ 7240 h 10000"/>
              <a:gd name="connsiteX74" fmla="*/ 9728 w 10000"/>
              <a:gd name="connsiteY74" fmla="*/ 7911 h 10000"/>
              <a:gd name="connsiteX75" fmla="*/ 9838 w 10000"/>
              <a:gd name="connsiteY75" fmla="*/ 7568 h 10000"/>
              <a:gd name="connsiteX76" fmla="*/ 9840 w 10000"/>
              <a:gd name="connsiteY76" fmla="*/ 7290 h 10000"/>
              <a:gd name="connsiteX77" fmla="*/ 9924 w 10000"/>
              <a:gd name="connsiteY77" fmla="*/ 7601 h 10000"/>
              <a:gd name="connsiteX78" fmla="*/ 10000 w 10000"/>
              <a:gd name="connsiteY7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57 w 10000"/>
              <a:gd name="connsiteY3" fmla="*/ 1570 h 10000"/>
              <a:gd name="connsiteX4" fmla="*/ 812 w 10000"/>
              <a:gd name="connsiteY4" fmla="*/ 1596 h 10000"/>
              <a:gd name="connsiteX5" fmla="*/ 902 w 10000"/>
              <a:gd name="connsiteY5" fmla="*/ 1570 h 10000"/>
              <a:gd name="connsiteX6" fmla="*/ 1055 w 10000"/>
              <a:gd name="connsiteY6" fmla="*/ 1574 h 10000"/>
              <a:gd name="connsiteX7" fmla="*/ 1161 w 10000"/>
              <a:gd name="connsiteY7" fmla="*/ 2522 h 10000"/>
              <a:gd name="connsiteX8" fmla="*/ 1218 w 10000"/>
              <a:gd name="connsiteY8" fmla="*/ 1574 h 10000"/>
              <a:gd name="connsiteX9" fmla="*/ 1272 w 10000"/>
              <a:gd name="connsiteY9" fmla="*/ 1844 h 10000"/>
              <a:gd name="connsiteX10" fmla="*/ 1312 w 10000"/>
              <a:gd name="connsiteY10" fmla="*/ 1484 h 10000"/>
              <a:gd name="connsiteX11" fmla="*/ 1359 w 10000"/>
              <a:gd name="connsiteY11" fmla="*/ 2571 h 10000"/>
              <a:gd name="connsiteX12" fmla="*/ 1434 w 10000"/>
              <a:gd name="connsiteY12" fmla="*/ 1305 h 10000"/>
              <a:gd name="connsiteX13" fmla="*/ 1437 w 10000"/>
              <a:gd name="connsiteY13" fmla="*/ 2314 h 10000"/>
              <a:gd name="connsiteX14" fmla="*/ 1498 w 10000"/>
              <a:gd name="connsiteY14" fmla="*/ 2668 h 10000"/>
              <a:gd name="connsiteX15" fmla="*/ 1545 w 10000"/>
              <a:gd name="connsiteY15" fmla="*/ 2453 h 10000"/>
              <a:gd name="connsiteX16" fmla="*/ 1569 w 10000"/>
              <a:gd name="connsiteY16" fmla="*/ 1755 h 10000"/>
              <a:gd name="connsiteX17" fmla="*/ 1660 w 10000"/>
              <a:gd name="connsiteY17" fmla="*/ 2668 h 10000"/>
              <a:gd name="connsiteX18" fmla="*/ 1735 w 10000"/>
              <a:gd name="connsiteY18" fmla="*/ 2297 h 10000"/>
              <a:gd name="connsiteX19" fmla="*/ 1772 w 10000"/>
              <a:gd name="connsiteY19" fmla="*/ 1124 h 10000"/>
              <a:gd name="connsiteX20" fmla="*/ 1797 w 10000"/>
              <a:gd name="connsiteY20" fmla="*/ 2433 h 10000"/>
              <a:gd name="connsiteX21" fmla="*/ 1825 w 10000"/>
              <a:gd name="connsiteY21" fmla="*/ 2115 h 10000"/>
              <a:gd name="connsiteX22" fmla="*/ 1835 w 10000"/>
              <a:gd name="connsiteY22" fmla="*/ 2340 h 10000"/>
              <a:gd name="connsiteX23" fmla="*/ 1893 w 10000"/>
              <a:gd name="connsiteY23" fmla="*/ 1797 h 10000"/>
              <a:gd name="connsiteX24" fmla="*/ 1988 w 10000"/>
              <a:gd name="connsiteY24" fmla="*/ 2380 h 10000"/>
              <a:gd name="connsiteX25" fmla="*/ 1983 w 10000"/>
              <a:gd name="connsiteY25" fmla="*/ 2928 h 10000"/>
              <a:gd name="connsiteX26" fmla="*/ 2044 w 10000"/>
              <a:gd name="connsiteY26" fmla="*/ 3277 h 10000"/>
              <a:gd name="connsiteX27" fmla="*/ 2081 w 10000"/>
              <a:gd name="connsiteY27" fmla="*/ 2698 h 10000"/>
              <a:gd name="connsiteX28" fmla="*/ 2128 w 10000"/>
              <a:gd name="connsiteY28" fmla="*/ 3328 h 10000"/>
              <a:gd name="connsiteX29" fmla="*/ 2217 w 10000"/>
              <a:gd name="connsiteY29" fmla="*/ 1484 h 10000"/>
              <a:gd name="connsiteX30" fmla="*/ 2281 w 10000"/>
              <a:gd name="connsiteY30" fmla="*/ 3557 h 10000"/>
              <a:gd name="connsiteX31" fmla="*/ 2405 w 10000"/>
              <a:gd name="connsiteY31" fmla="*/ 2517 h 10000"/>
              <a:gd name="connsiteX32" fmla="*/ 2418 w 10000"/>
              <a:gd name="connsiteY32" fmla="*/ 1978 h 10000"/>
              <a:gd name="connsiteX33" fmla="*/ 2495 w 10000"/>
              <a:gd name="connsiteY33" fmla="*/ 2758 h 10000"/>
              <a:gd name="connsiteX34" fmla="*/ 2553 w 10000"/>
              <a:gd name="connsiteY34" fmla="*/ 2247 h 10000"/>
              <a:gd name="connsiteX35" fmla="*/ 2607 w 10000"/>
              <a:gd name="connsiteY35" fmla="*/ 2157 h 10000"/>
              <a:gd name="connsiteX36" fmla="*/ 2702 w 10000"/>
              <a:gd name="connsiteY36" fmla="*/ 1574 h 10000"/>
              <a:gd name="connsiteX37" fmla="*/ 2855 w 10000"/>
              <a:gd name="connsiteY37" fmla="*/ 1499 h 10000"/>
              <a:gd name="connsiteX38" fmla="*/ 3283 w 10000"/>
              <a:gd name="connsiteY38" fmla="*/ 1796 h 10000"/>
              <a:gd name="connsiteX39" fmla="*/ 3383 w 10000"/>
              <a:gd name="connsiteY39" fmla="*/ 2828 h 10000"/>
              <a:gd name="connsiteX40" fmla="*/ 3737 w 10000"/>
              <a:gd name="connsiteY40" fmla="*/ 2507 h 10000"/>
              <a:gd name="connsiteX41" fmla="*/ 3830 w 10000"/>
              <a:gd name="connsiteY41" fmla="*/ 1436 h 10000"/>
              <a:gd name="connsiteX42" fmla="*/ 3897 w 10000"/>
              <a:gd name="connsiteY42" fmla="*/ 1151 h 10000"/>
              <a:gd name="connsiteX43" fmla="*/ 4315 w 10000"/>
              <a:gd name="connsiteY43" fmla="*/ 6740 h 10000"/>
              <a:gd name="connsiteX44" fmla="*/ 4700 w 10000"/>
              <a:gd name="connsiteY44" fmla="*/ 6699 h 10000"/>
              <a:gd name="connsiteX45" fmla="*/ 5071 w 10000"/>
              <a:gd name="connsiteY45" fmla="*/ 739 h 10000"/>
              <a:gd name="connsiteX46" fmla="*/ 5369 w 10000"/>
              <a:gd name="connsiteY46" fmla="*/ 768 h 10000"/>
              <a:gd name="connsiteX47" fmla="*/ 5368 w 10000"/>
              <a:gd name="connsiteY47" fmla="*/ 747 h 10000"/>
              <a:gd name="connsiteX48" fmla="*/ 5871 w 10000"/>
              <a:gd name="connsiteY48" fmla="*/ 1290 h 10000"/>
              <a:gd name="connsiteX49" fmla="*/ 6035 w 10000"/>
              <a:gd name="connsiteY49" fmla="*/ 0 h 10000"/>
              <a:gd name="connsiteX50" fmla="*/ 6568 w 10000"/>
              <a:gd name="connsiteY50" fmla="*/ 111 h 10000"/>
              <a:gd name="connsiteX51" fmla="*/ 6873 w 10000"/>
              <a:gd name="connsiteY51" fmla="*/ 42 h 10000"/>
              <a:gd name="connsiteX52" fmla="*/ 7066 w 10000"/>
              <a:gd name="connsiteY52" fmla="*/ 362 h 10000"/>
              <a:gd name="connsiteX53" fmla="*/ 7376 w 10000"/>
              <a:gd name="connsiteY53" fmla="*/ 6050 h 10000"/>
              <a:gd name="connsiteX54" fmla="*/ 8212 w 10000"/>
              <a:gd name="connsiteY54" fmla="*/ 6037 h 10000"/>
              <a:gd name="connsiteX55" fmla="*/ 8406 w 10000"/>
              <a:gd name="connsiteY55" fmla="*/ 4934 h 10000"/>
              <a:gd name="connsiteX56" fmla="*/ 8534 w 10000"/>
              <a:gd name="connsiteY56" fmla="*/ 5543 h 10000"/>
              <a:gd name="connsiteX57" fmla="*/ 8617 w 10000"/>
              <a:gd name="connsiteY57" fmla="*/ 4997 h 10000"/>
              <a:gd name="connsiteX58" fmla="*/ 8681 w 10000"/>
              <a:gd name="connsiteY58" fmla="*/ 7677 h 10000"/>
              <a:gd name="connsiteX59" fmla="*/ 8746 w 10000"/>
              <a:gd name="connsiteY59" fmla="*/ 6591 h 10000"/>
              <a:gd name="connsiteX60" fmla="*/ 8839 w 10000"/>
              <a:gd name="connsiteY60" fmla="*/ 7814 h 10000"/>
              <a:gd name="connsiteX61" fmla="*/ 8891 w 10000"/>
              <a:gd name="connsiteY61" fmla="*/ 7594 h 10000"/>
              <a:gd name="connsiteX62" fmla="*/ 8917 w 10000"/>
              <a:gd name="connsiteY62" fmla="*/ 7970 h 10000"/>
              <a:gd name="connsiteX63" fmla="*/ 9011 w 10000"/>
              <a:gd name="connsiteY63" fmla="*/ 7983 h 10000"/>
              <a:gd name="connsiteX64" fmla="*/ 9017 w 10000"/>
              <a:gd name="connsiteY64" fmla="*/ 7710 h 10000"/>
              <a:gd name="connsiteX65" fmla="*/ 9127 w 10000"/>
              <a:gd name="connsiteY65" fmla="*/ 7929 h 10000"/>
              <a:gd name="connsiteX66" fmla="*/ 9189 w 10000"/>
              <a:gd name="connsiteY66" fmla="*/ 7833 h 10000"/>
              <a:gd name="connsiteX67" fmla="*/ 9213 w 10000"/>
              <a:gd name="connsiteY67" fmla="*/ 7373 h 10000"/>
              <a:gd name="connsiteX68" fmla="*/ 9247 w 10000"/>
              <a:gd name="connsiteY68" fmla="*/ 7816 h 10000"/>
              <a:gd name="connsiteX69" fmla="*/ 9324 w 10000"/>
              <a:gd name="connsiteY69" fmla="*/ 7586 h 10000"/>
              <a:gd name="connsiteX70" fmla="*/ 9435 w 10000"/>
              <a:gd name="connsiteY70" fmla="*/ 7709 h 10000"/>
              <a:gd name="connsiteX71" fmla="*/ 9494 w 10000"/>
              <a:gd name="connsiteY71" fmla="*/ 7970 h 10000"/>
              <a:gd name="connsiteX72" fmla="*/ 9527 w 10000"/>
              <a:gd name="connsiteY72" fmla="*/ 7732 h 10000"/>
              <a:gd name="connsiteX73" fmla="*/ 9585 w 10000"/>
              <a:gd name="connsiteY73" fmla="*/ 7935 h 10000"/>
              <a:gd name="connsiteX74" fmla="*/ 9625 w 10000"/>
              <a:gd name="connsiteY74" fmla="*/ 7240 h 10000"/>
              <a:gd name="connsiteX75" fmla="*/ 9728 w 10000"/>
              <a:gd name="connsiteY75" fmla="*/ 7911 h 10000"/>
              <a:gd name="connsiteX76" fmla="*/ 9838 w 10000"/>
              <a:gd name="connsiteY76" fmla="*/ 7568 h 10000"/>
              <a:gd name="connsiteX77" fmla="*/ 9840 w 10000"/>
              <a:gd name="connsiteY77" fmla="*/ 7290 h 10000"/>
              <a:gd name="connsiteX78" fmla="*/ 9924 w 10000"/>
              <a:gd name="connsiteY78" fmla="*/ 7601 h 10000"/>
              <a:gd name="connsiteX79" fmla="*/ 10000 w 10000"/>
              <a:gd name="connsiteY7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57 w 10000"/>
              <a:gd name="connsiteY3" fmla="*/ 1570 h 10000"/>
              <a:gd name="connsiteX4" fmla="*/ 812 w 10000"/>
              <a:gd name="connsiteY4" fmla="*/ 1596 h 10000"/>
              <a:gd name="connsiteX5" fmla="*/ 969 w 10000"/>
              <a:gd name="connsiteY5" fmla="*/ 2271 h 10000"/>
              <a:gd name="connsiteX6" fmla="*/ 1055 w 10000"/>
              <a:gd name="connsiteY6" fmla="*/ 1574 h 10000"/>
              <a:gd name="connsiteX7" fmla="*/ 1161 w 10000"/>
              <a:gd name="connsiteY7" fmla="*/ 2522 h 10000"/>
              <a:gd name="connsiteX8" fmla="*/ 1218 w 10000"/>
              <a:gd name="connsiteY8" fmla="*/ 1574 h 10000"/>
              <a:gd name="connsiteX9" fmla="*/ 1272 w 10000"/>
              <a:gd name="connsiteY9" fmla="*/ 1844 h 10000"/>
              <a:gd name="connsiteX10" fmla="*/ 1312 w 10000"/>
              <a:gd name="connsiteY10" fmla="*/ 1484 h 10000"/>
              <a:gd name="connsiteX11" fmla="*/ 1359 w 10000"/>
              <a:gd name="connsiteY11" fmla="*/ 2571 h 10000"/>
              <a:gd name="connsiteX12" fmla="*/ 1434 w 10000"/>
              <a:gd name="connsiteY12" fmla="*/ 1305 h 10000"/>
              <a:gd name="connsiteX13" fmla="*/ 1437 w 10000"/>
              <a:gd name="connsiteY13" fmla="*/ 2314 h 10000"/>
              <a:gd name="connsiteX14" fmla="*/ 1498 w 10000"/>
              <a:gd name="connsiteY14" fmla="*/ 2668 h 10000"/>
              <a:gd name="connsiteX15" fmla="*/ 1545 w 10000"/>
              <a:gd name="connsiteY15" fmla="*/ 2453 h 10000"/>
              <a:gd name="connsiteX16" fmla="*/ 1569 w 10000"/>
              <a:gd name="connsiteY16" fmla="*/ 1755 h 10000"/>
              <a:gd name="connsiteX17" fmla="*/ 1660 w 10000"/>
              <a:gd name="connsiteY17" fmla="*/ 2668 h 10000"/>
              <a:gd name="connsiteX18" fmla="*/ 1735 w 10000"/>
              <a:gd name="connsiteY18" fmla="*/ 2297 h 10000"/>
              <a:gd name="connsiteX19" fmla="*/ 1772 w 10000"/>
              <a:gd name="connsiteY19" fmla="*/ 1124 h 10000"/>
              <a:gd name="connsiteX20" fmla="*/ 1797 w 10000"/>
              <a:gd name="connsiteY20" fmla="*/ 2433 h 10000"/>
              <a:gd name="connsiteX21" fmla="*/ 1825 w 10000"/>
              <a:gd name="connsiteY21" fmla="*/ 2115 h 10000"/>
              <a:gd name="connsiteX22" fmla="*/ 1835 w 10000"/>
              <a:gd name="connsiteY22" fmla="*/ 2340 h 10000"/>
              <a:gd name="connsiteX23" fmla="*/ 1893 w 10000"/>
              <a:gd name="connsiteY23" fmla="*/ 1797 h 10000"/>
              <a:gd name="connsiteX24" fmla="*/ 1988 w 10000"/>
              <a:gd name="connsiteY24" fmla="*/ 2380 h 10000"/>
              <a:gd name="connsiteX25" fmla="*/ 1983 w 10000"/>
              <a:gd name="connsiteY25" fmla="*/ 2928 h 10000"/>
              <a:gd name="connsiteX26" fmla="*/ 2044 w 10000"/>
              <a:gd name="connsiteY26" fmla="*/ 3277 h 10000"/>
              <a:gd name="connsiteX27" fmla="*/ 2081 w 10000"/>
              <a:gd name="connsiteY27" fmla="*/ 2698 h 10000"/>
              <a:gd name="connsiteX28" fmla="*/ 2128 w 10000"/>
              <a:gd name="connsiteY28" fmla="*/ 3328 h 10000"/>
              <a:gd name="connsiteX29" fmla="*/ 2217 w 10000"/>
              <a:gd name="connsiteY29" fmla="*/ 1484 h 10000"/>
              <a:gd name="connsiteX30" fmla="*/ 2281 w 10000"/>
              <a:gd name="connsiteY30" fmla="*/ 3557 h 10000"/>
              <a:gd name="connsiteX31" fmla="*/ 2405 w 10000"/>
              <a:gd name="connsiteY31" fmla="*/ 2517 h 10000"/>
              <a:gd name="connsiteX32" fmla="*/ 2418 w 10000"/>
              <a:gd name="connsiteY32" fmla="*/ 1978 h 10000"/>
              <a:gd name="connsiteX33" fmla="*/ 2495 w 10000"/>
              <a:gd name="connsiteY33" fmla="*/ 2758 h 10000"/>
              <a:gd name="connsiteX34" fmla="*/ 2553 w 10000"/>
              <a:gd name="connsiteY34" fmla="*/ 2247 h 10000"/>
              <a:gd name="connsiteX35" fmla="*/ 2607 w 10000"/>
              <a:gd name="connsiteY35" fmla="*/ 2157 h 10000"/>
              <a:gd name="connsiteX36" fmla="*/ 2702 w 10000"/>
              <a:gd name="connsiteY36" fmla="*/ 1574 h 10000"/>
              <a:gd name="connsiteX37" fmla="*/ 2855 w 10000"/>
              <a:gd name="connsiteY37" fmla="*/ 1499 h 10000"/>
              <a:gd name="connsiteX38" fmla="*/ 3283 w 10000"/>
              <a:gd name="connsiteY38" fmla="*/ 1796 h 10000"/>
              <a:gd name="connsiteX39" fmla="*/ 3383 w 10000"/>
              <a:gd name="connsiteY39" fmla="*/ 2828 h 10000"/>
              <a:gd name="connsiteX40" fmla="*/ 3737 w 10000"/>
              <a:gd name="connsiteY40" fmla="*/ 2507 h 10000"/>
              <a:gd name="connsiteX41" fmla="*/ 3830 w 10000"/>
              <a:gd name="connsiteY41" fmla="*/ 1436 h 10000"/>
              <a:gd name="connsiteX42" fmla="*/ 3897 w 10000"/>
              <a:gd name="connsiteY42" fmla="*/ 1151 h 10000"/>
              <a:gd name="connsiteX43" fmla="*/ 4315 w 10000"/>
              <a:gd name="connsiteY43" fmla="*/ 6740 h 10000"/>
              <a:gd name="connsiteX44" fmla="*/ 4700 w 10000"/>
              <a:gd name="connsiteY44" fmla="*/ 6699 h 10000"/>
              <a:gd name="connsiteX45" fmla="*/ 5071 w 10000"/>
              <a:gd name="connsiteY45" fmla="*/ 739 h 10000"/>
              <a:gd name="connsiteX46" fmla="*/ 5369 w 10000"/>
              <a:gd name="connsiteY46" fmla="*/ 768 h 10000"/>
              <a:gd name="connsiteX47" fmla="*/ 5368 w 10000"/>
              <a:gd name="connsiteY47" fmla="*/ 747 h 10000"/>
              <a:gd name="connsiteX48" fmla="*/ 5871 w 10000"/>
              <a:gd name="connsiteY48" fmla="*/ 1290 h 10000"/>
              <a:gd name="connsiteX49" fmla="*/ 6035 w 10000"/>
              <a:gd name="connsiteY49" fmla="*/ 0 h 10000"/>
              <a:gd name="connsiteX50" fmla="*/ 6568 w 10000"/>
              <a:gd name="connsiteY50" fmla="*/ 111 h 10000"/>
              <a:gd name="connsiteX51" fmla="*/ 6873 w 10000"/>
              <a:gd name="connsiteY51" fmla="*/ 42 h 10000"/>
              <a:gd name="connsiteX52" fmla="*/ 7066 w 10000"/>
              <a:gd name="connsiteY52" fmla="*/ 362 h 10000"/>
              <a:gd name="connsiteX53" fmla="*/ 7376 w 10000"/>
              <a:gd name="connsiteY53" fmla="*/ 6050 h 10000"/>
              <a:gd name="connsiteX54" fmla="*/ 8212 w 10000"/>
              <a:gd name="connsiteY54" fmla="*/ 6037 h 10000"/>
              <a:gd name="connsiteX55" fmla="*/ 8406 w 10000"/>
              <a:gd name="connsiteY55" fmla="*/ 4934 h 10000"/>
              <a:gd name="connsiteX56" fmla="*/ 8534 w 10000"/>
              <a:gd name="connsiteY56" fmla="*/ 5543 h 10000"/>
              <a:gd name="connsiteX57" fmla="*/ 8617 w 10000"/>
              <a:gd name="connsiteY57" fmla="*/ 4997 h 10000"/>
              <a:gd name="connsiteX58" fmla="*/ 8681 w 10000"/>
              <a:gd name="connsiteY58" fmla="*/ 7677 h 10000"/>
              <a:gd name="connsiteX59" fmla="*/ 8746 w 10000"/>
              <a:gd name="connsiteY59" fmla="*/ 6591 h 10000"/>
              <a:gd name="connsiteX60" fmla="*/ 8839 w 10000"/>
              <a:gd name="connsiteY60" fmla="*/ 7814 h 10000"/>
              <a:gd name="connsiteX61" fmla="*/ 8891 w 10000"/>
              <a:gd name="connsiteY61" fmla="*/ 7594 h 10000"/>
              <a:gd name="connsiteX62" fmla="*/ 8917 w 10000"/>
              <a:gd name="connsiteY62" fmla="*/ 7970 h 10000"/>
              <a:gd name="connsiteX63" fmla="*/ 9011 w 10000"/>
              <a:gd name="connsiteY63" fmla="*/ 7983 h 10000"/>
              <a:gd name="connsiteX64" fmla="*/ 9017 w 10000"/>
              <a:gd name="connsiteY64" fmla="*/ 7710 h 10000"/>
              <a:gd name="connsiteX65" fmla="*/ 9127 w 10000"/>
              <a:gd name="connsiteY65" fmla="*/ 7929 h 10000"/>
              <a:gd name="connsiteX66" fmla="*/ 9189 w 10000"/>
              <a:gd name="connsiteY66" fmla="*/ 7833 h 10000"/>
              <a:gd name="connsiteX67" fmla="*/ 9213 w 10000"/>
              <a:gd name="connsiteY67" fmla="*/ 7373 h 10000"/>
              <a:gd name="connsiteX68" fmla="*/ 9247 w 10000"/>
              <a:gd name="connsiteY68" fmla="*/ 7816 h 10000"/>
              <a:gd name="connsiteX69" fmla="*/ 9324 w 10000"/>
              <a:gd name="connsiteY69" fmla="*/ 7586 h 10000"/>
              <a:gd name="connsiteX70" fmla="*/ 9435 w 10000"/>
              <a:gd name="connsiteY70" fmla="*/ 7709 h 10000"/>
              <a:gd name="connsiteX71" fmla="*/ 9494 w 10000"/>
              <a:gd name="connsiteY71" fmla="*/ 7970 h 10000"/>
              <a:gd name="connsiteX72" fmla="*/ 9527 w 10000"/>
              <a:gd name="connsiteY72" fmla="*/ 7732 h 10000"/>
              <a:gd name="connsiteX73" fmla="*/ 9585 w 10000"/>
              <a:gd name="connsiteY73" fmla="*/ 7935 h 10000"/>
              <a:gd name="connsiteX74" fmla="*/ 9625 w 10000"/>
              <a:gd name="connsiteY74" fmla="*/ 7240 h 10000"/>
              <a:gd name="connsiteX75" fmla="*/ 9728 w 10000"/>
              <a:gd name="connsiteY75" fmla="*/ 7911 h 10000"/>
              <a:gd name="connsiteX76" fmla="*/ 9838 w 10000"/>
              <a:gd name="connsiteY76" fmla="*/ 7568 h 10000"/>
              <a:gd name="connsiteX77" fmla="*/ 9840 w 10000"/>
              <a:gd name="connsiteY77" fmla="*/ 7290 h 10000"/>
              <a:gd name="connsiteX78" fmla="*/ 9924 w 10000"/>
              <a:gd name="connsiteY78" fmla="*/ 7601 h 10000"/>
              <a:gd name="connsiteX79" fmla="*/ 10000 w 10000"/>
              <a:gd name="connsiteY7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57 w 10000"/>
              <a:gd name="connsiteY3" fmla="*/ 1570 h 10000"/>
              <a:gd name="connsiteX4" fmla="*/ 812 w 10000"/>
              <a:gd name="connsiteY4" fmla="*/ 1596 h 10000"/>
              <a:gd name="connsiteX5" fmla="*/ 869 w 10000"/>
              <a:gd name="connsiteY5" fmla="*/ 1822 h 10000"/>
              <a:gd name="connsiteX6" fmla="*/ 969 w 10000"/>
              <a:gd name="connsiteY6" fmla="*/ 2271 h 10000"/>
              <a:gd name="connsiteX7" fmla="*/ 1055 w 10000"/>
              <a:gd name="connsiteY7" fmla="*/ 1574 h 10000"/>
              <a:gd name="connsiteX8" fmla="*/ 1161 w 10000"/>
              <a:gd name="connsiteY8" fmla="*/ 2522 h 10000"/>
              <a:gd name="connsiteX9" fmla="*/ 1218 w 10000"/>
              <a:gd name="connsiteY9" fmla="*/ 1574 h 10000"/>
              <a:gd name="connsiteX10" fmla="*/ 1272 w 10000"/>
              <a:gd name="connsiteY10" fmla="*/ 1844 h 10000"/>
              <a:gd name="connsiteX11" fmla="*/ 1312 w 10000"/>
              <a:gd name="connsiteY11" fmla="*/ 1484 h 10000"/>
              <a:gd name="connsiteX12" fmla="*/ 1359 w 10000"/>
              <a:gd name="connsiteY12" fmla="*/ 2571 h 10000"/>
              <a:gd name="connsiteX13" fmla="*/ 1434 w 10000"/>
              <a:gd name="connsiteY13" fmla="*/ 1305 h 10000"/>
              <a:gd name="connsiteX14" fmla="*/ 1437 w 10000"/>
              <a:gd name="connsiteY14" fmla="*/ 2314 h 10000"/>
              <a:gd name="connsiteX15" fmla="*/ 1498 w 10000"/>
              <a:gd name="connsiteY15" fmla="*/ 2668 h 10000"/>
              <a:gd name="connsiteX16" fmla="*/ 1545 w 10000"/>
              <a:gd name="connsiteY16" fmla="*/ 2453 h 10000"/>
              <a:gd name="connsiteX17" fmla="*/ 1569 w 10000"/>
              <a:gd name="connsiteY17" fmla="*/ 1755 h 10000"/>
              <a:gd name="connsiteX18" fmla="*/ 1660 w 10000"/>
              <a:gd name="connsiteY18" fmla="*/ 2668 h 10000"/>
              <a:gd name="connsiteX19" fmla="*/ 1735 w 10000"/>
              <a:gd name="connsiteY19" fmla="*/ 2297 h 10000"/>
              <a:gd name="connsiteX20" fmla="*/ 1772 w 10000"/>
              <a:gd name="connsiteY20" fmla="*/ 1124 h 10000"/>
              <a:gd name="connsiteX21" fmla="*/ 1797 w 10000"/>
              <a:gd name="connsiteY21" fmla="*/ 2433 h 10000"/>
              <a:gd name="connsiteX22" fmla="*/ 1825 w 10000"/>
              <a:gd name="connsiteY22" fmla="*/ 2115 h 10000"/>
              <a:gd name="connsiteX23" fmla="*/ 1835 w 10000"/>
              <a:gd name="connsiteY23" fmla="*/ 2340 h 10000"/>
              <a:gd name="connsiteX24" fmla="*/ 1893 w 10000"/>
              <a:gd name="connsiteY24" fmla="*/ 1797 h 10000"/>
              <a:gd name="connsiteX25" fmla="*/ 1988 w 10000"/>
              <a:gd name="connsiteY25" fmla="*/ 2380 h 10000"/>
              <a:gd name="connsiteX26" fmla="*/ 1983 w 10000"/>
              <a:gd name="connsiteY26" fmla="*/ 2928 h 10000"/>
              <a:gd name="connsiteX27" fmla="*/ 2044 w 10000"/>
              <a:gd name="connsiteY27" fmla="*/ 3277 h 10000"/>
              <a:gd name="connsiteX28" fmla="*/ 2081 w 10000"/>
              <a:gd name="connsiteY28" fmla="*/ 2698 h 10000"/>
              <a:gd name="connsiteX29" fmla="*/ 2128 w 10000"/>
              <a:gd name="connsiteY29" fmla="*/ 3328 h 10000"/>
              <a:gd name="connsiteX30" fmla="*/ 2217 w 10000"/>
              <a:gd name="connsiteY30" fmla="*/ 1484 h 10000"/>
              <a:gd name="connsiteX31" fmla="*/ 2281 w 10000"/>
              <a:gd name="connsiteY31" fmla="*/ 3557 h 10000"/>
              <a:gd name="connsiteX32" fmla="*/ 2405 w 10000"/>
              <a:gd name="connsiteY32" fmla="*/ 2517 h 10000"/>
              <a:gd name="connsiteX33" fmla="*/ 2418 w 10000"/>
              <a:gd name="connsiteY33" fmla="*/ 1978 h 10000"/>
              <a:gd name="connsiteX34" fmla="*/ 2495 w 10000"/>
              <a:gd name="connsiteY34" fmla="*/ 2758 h 10000"/>
              <a:gd name="connsiteX35" fmla="*/ 2553 w 10000"/>
              <a:gd name="connsiteY35" fmla="*/ 2247 h 10000"/>
              <a:gd name="connsiteX36" fmla="*/ 2607 w 10000"/>
              <a:gd name="connsiteY36" fmla="*/ 2157 h 10000"/>
              <a:gd name="connsiteX37" fmla="*/ 2702 w 10000"/>
              <a:gd name="connsiteY37" fmla="*/ 1574 h 10000"/>
              <a:gd name="connsiteX38" fmla="*/ 2855 w 10000"/>
              <a:gd name="connsiteY38" fmla="*/ 1499 h 10000"/>
              <a:gd name="connsiteX39" fmla="*/ 3283 w 10000"/>
              <a:gd name="connsiteY39" fmla="*/ 1796 h 10000"/>
              <a:gd name="connsiteX40" fmla="*/ 3383 w 10000"/>
              <a:gd name="connsiteY40" fmla="*/ 2828 h 10000"/>
              <a:gd name="connsiteX41" fmla="*/ 3737 w 10000"/>
              <a:gd name="connsiteY41" fmla="*/ 2507 h 10000"/>
              <a:gd name="connsiteX42" fmla="*/ 3830 w 10000"/>
              <a:gd name="connsiteY42" fmla="*/ 1436 h 10000"/>
              <a:gd name="connsiteX43" fmla="*/ 3897 w 10000"/>
              <a:gd name="connsiteY43" fmla="*/ 1151 h 10000"/>
              <a:gd name="connsiteX44" fmla="*/ 4315 w 10000"/>
              <a:gd name="connsiteY44" fmla="*/ 6740 h 10000"/>
              <a:gd name="connsiteX45" fmla="*/ 4700 w 10000"/>
              <a:gd name="connsiteY45" fmla="*/ 6699 h 10000"/>
              <a:gd name="connsiteX46" fmla="*/ 5071 w 10000"/>
              <a:gd name="connsiteY46" fmla="*/ 739 h 10000"/>
              <a:gd name="connsiteX47" fmla="*/ 5369 w 10000"/>
              <a:gd name="connsiteY47" fmla="*/ 768 h 10000"/>
              <a:gd name="connsiteX48" fmla="*/ 5368 w 10000"/>
              <a:gd name="connsiteY48" fmla="*/ 747 h 10000"/>
              <a:gd name="connsiteX49" fmla="*/ 5871 w 10000"/>
              <a:gd name="connsiteY49" fmla="*/ 1290 h 10000"/>
              <a:gd name="connsiteX50" fmla="*/ 6035 w 10000"/>
              <a:gd name="connsiteY50" fmla="*/ 0 h 10000"/>
              <a:gd name="connsiteX51" fmla="*/ 6568 w 10000"/>
              <a:gd name="connsiteY51" fmla="*/ 111 h 10000"/>
              <a:gd name="connsiteX52" fmla="*/ 6873 w 10000"/>
              <a:gd name="connsiteY52" fmla="*/ 42 h 10000"/>
              <a:gd name="connsiteX53" fmla="*/ 7066 w 10000"/>
              <a:gd name="connsiteY53" fmla="*/ 362 h 10000"/>
              <a:gd name="connsiteX54" fmla="*/ 7376 w 10000"/>
              <a:gd name="connsiteY54" fmla="*/ 6050 h 10000"/>
              <a:gd name="connsiteX55" fmla="*/ 8212 w 10000"/>
              <a:gd name="connsiteY55" fmla="*/ 6037 h 10000"/>
              <a:gd name="connsiteX56" fmla="*/ 8406 w 10000"/>
              <a:gd name="connsiteY56" fmla="*/ 4934 h 10000"/>
              <a:gd name="connsiteX57" fmla="*/ 8534 w 10000"/>
              <a:gd name="connsiteY57" fmla="*/ 5543 h 10000"/>
              <a:gd name="connsiteX58" fmla="*/ 8617 w 10000"/>
              <a:gd name="connsiteY58" fmla="*/ 4997 h 10000"/>
              <a:gd name="connsiteX59" fmla="*/ 8681 w 10000"/>
              <a:gd name="connsiteY59" fmla="*/ 7677 h 10000"/>
              <a:gd name="connsiteX60" fmla="*/ 8746 w 10000"/>
              <a:gd name="connsiteY60" fmla="*/ 6591 h 10000"/>
              <a:gd name="connsiteX61" fmla="*/ 8839 w 10000"/>
              <a:gd name="connsiteY61" fmla="*/ 7814 h 10000"/>
              <a:gd name="connsiteX62" fmla="*/ 8891 w 10000"/>
              <a:gd name="connsiteY62" fmla="*/ 7594 h 10000"/>
              <a:gd name="connsiteX63" fmla="*/ 8917 w 10000"/>
              <a:gd name="connsiteY63" fmla="*/ 7970 h 10000"/>
              <a:gd name="connsiteX64" fmla="*/ 9011 w 10000"/>
              <a:gd name="connsiteY64" fmla="*/ 7983 h 10000"/>
              <a:gd name="connsiteX65" fmla="*/ 9017 w 10000"/>
              <a:gd name="connsiteY65" fmla="*/ 7710 h 10000"/>
              <a:gd name="connsiteX66" fmla="*/ 9127 w 10000"/>
              <a:gd name="connsiteY66" fmla="*/ 7929 h 10000"/>
              <a:gd name="connsiteX67" fmla="*/ 9189 w 10000"/>
              <a:gd name="connsiteY67" fmla="*/ 7833 h 10000"/>
              <a:gd name="connsiteX68" fmla="*/ 9213 w 10000"/>
              <a:gd name="connsiteY68" fmla="*/ 7373 h 10000"/>
              <a:gd name="connsiteX69" fmla="*/ 9247 w 10000"/>
              <a:gd name="connsiteY69" fmla="*/ 7816 h 10000"/>
              <a:gd name="connsiteX70" fmla="*/ 9324 w 10000"/>
              <a:gd name="connsiteY70" fmla="*/ 7586 h 10000"/>
              <a:gd name="connsiteX71" fmla="*/ 9435 w 10000"/>
              <a:gd name="connsiteY71" fmla="*/ 7709 h 10000"/>
              <a:gd name="connsiteX72" fmla="*/ 9494 w 10000"/>
              <a:gd name="connsiteY72" fmla="*/ 7970 h 10000"/>
              <a:gd name="connsiteX73" fmla="*/ 9527 w 10000"/>
              <a:gd name="connsiteY73" fmla="*/ 7732 h 10000"/>
              <a:gd name="connsiteX74" fmla="*/ 9585 w 10000"/>
              <a:gd name="connsiteY74" fmla="*/ 7935 h 10000"/>
              <a:gd name="connsiteX75" fmla="*/ 9625 w 10000"/>
              <a:gd name="connsiteY75" fmla="*/ 7240 h 10000"/>
              <a:gd name="connsiteX76" fmla="*/ 9728 w 10000"/>
              <a:gd name="connsiteY76" fmla="*/ 7911 h 10000"/>
              <a:gd name="connsiteX77" fmla="*/ 9838 w 10000"/>
              <a:gd name="connsiteY77" fmla="*/ 7568 h 10000"/>
              <a:gd name="connsiteX78" fmla="*/ 9840 w 10000"/>
              <a:gd name="connsiteY78" fmla="*/ 7290 h 10000"/>
              <a:gd name="connsiteX79" fmla="*/ 9924 w 10000"/>
              <a:gd name="connsiteY79" fmla="*/ 7601 h 10000"/>
              <a:gd name="connsiteX80" fmla="*/ 10000 w 10000"/>
              <a:gd name="connsiteY80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57 w 10000"/>
              <a:gd name="connsiteY3" fmla="*/ 1570 h 10000"/>
              <a:gd name="connsiteX4" fmla="*/ 812 w 10000"/>
              <a:gd name="connsiteY4" fmla="*/ 1596 h 10000"/>
              <a:gd name="connsiteX5" fmla="*/ 886 w 10000"/>
              <a:gd name="connsiteY5" fmla="*/ 1233 h 10000"/>
              <a:gd name="connsiteX6" fmla="*/ 969 w 10000"/>
              <a:gd name="connsiteY6" fmla="*/ 2271 h 10000"/>
              <a:gd name="connsiteX7" fmla="*/ 1055 w 10000"/>
              <a:gd name="connsiteY7" fmla="*/ 1574 h 10000"/>
              <a:gd name="connsiteX8" fmla="*/ 1161 w 10000"/>
              <a:gd name="connsiteY8" fmla="*/ 2522 h 10000"/>
              <a:gd name="connsiteX9" fmla="*/ 1218 w 10000"/>
              <a:gd name="connsiteY9" fmla="*/ 1574 h 10000"/>
              <a:gd name="connsiteX10" fmla="*/ 1272 w 10000"/>
              <a:gd name="connsiteY10" fmla="*/ 1844 h 10000"/>
              <a:gd name="connsiteX11" fmla="*/ 1312 w 10000"/>
              <a:gd name="connsiteY11" fmla="*/ 1484 h 10000"/>
              <a:gd name="connsiteX12" fmla="*/ 1359 w 10000"/>
              <a:gd name="connsiteY12" fmla="*/ 2571 h 10000"/>
              <a:gd name="connsiteX13" fmla="*/ 1434 w 10000"/>
              <a:gd name="connsiteY13" fmla="*/ 1305 h 10000"/>
              <a:gd name="connsiteX14" fmla="*/ 1437 w 10000"/>
              <a:gd name="connsiteY14" fmla="*/ 2314 h 10000"/>
              <a:gd name="connsiteX15" fmla="*/ 1498 w 10000"/>
              <a:gd name="connsiteY15" fmla="*/ 2668 h 10000"/>
              <a:gd name="connsiteX16" fmla="*/ 1545 w 10000"/>
              <a:gd name="connsiteY16" fmla="*/ 2453 h 10000"/>
              <a:gd name="connsiteX17" fmla="*/ 1569 w 10000"/>
              <a:gd name="connsiteY17" fmla="*/ 1755 h 10000"/>
              <a:gd name="connsiteX18" fmla="*/ 1660 w 10000"/>
              <a:gd name="connsiteY18" fmla="*/ 2668 h 10000"/>
              <a:gd name="connsiteX19" fmla="*/ 1735 w 10000"/>
              <a:gd name="connsiteY19" fmla="*/ 2297 h 10000"/>
              <a:gd name="connsiteX20" fmla="*/ 1772 w 10000"/>
              <a:gd name="connsiteY20" fmla="*/ 1124 h 10000"/>
              <a:gd name="connsiteX21" fmla="*/ 1797 w 10000"/>
              <a:gd name="connsiteY21" fmla="*/ 2433 h 10000"/>
              <a:gd name="connsiteX22" fmla="*/ 1825 w 10000"/>
              <a:gd name="connsiteY22" fmla="*/ 2115 h 10000"/>
              <a:gd name="connsiteX23" fmla="*/ 1835 w 10000"/>
              <a:gd name="connsiteY23" fmla="*/ 2340 h 10000"/>
              <a:gd name="connsiteX24" fmla="*/ 1893 w 10000"/>
              <a:gd name="connsiteY24" fmla="*/ 1797 h 10000"/>
              <a:gd name="connsiteX25" fmla="*/ 1988 w 10000"/>
              <a:gd name="connsiteY25" fmla="*/ 2380 h 10000"/>
              <a:gd name="connsiteX26" fmla="*/ 1983 w 10000"/>
              <a:gd name="connsiteY26" fmla="*/ 2928 h 10000"/>
              <a:gd name="connsiteX27" fmla="*/ 2044 w 10000"/>
              <a:gd name="connsiteY27" fmla="*/ 3277 h 10000"/>
              <a:gd name="connsiteX28" fmla="*/ 2081 w 10000"/>
              <a:gd name="connsiteY28" fmla="*/ 2698 h 10000"/>
              <a:gd name="connsiteX29" fmla="*/ 2128 w 10000"/>
              <a:gd name="connsiteY29" fmla="*/ 3328 h 10000"/>
              <a:gd name="connsiteX30" fmla="*/ 2217 w 10000"/>
              <a:gd name="connsiteY30" fmla="*/ 1484 h 10000"/>
              <a:gd name="connsiteX31" fmla="*/ 2281 w 10000"/>
              <a:gd name="connsiteY31" fmla="*/ 3557 h 10000"/>
              <a:gd name="connsiteX32" fmla="*/ 2405 w 10000"/>
              <a:gd name="connsiteY32" fmla="*/ 2517 h 10000"/>
              <a:gd name="connsiteX33" fmla="*/ 2418 w 10000"/>
              <a:gd name="connsiteY33" fmla="*/ 1978 h 10000"/>
              <a:gd name="connsiteX34" fmla="*/ 2495 w 10000"/>
              <a:gd name="connsiteY34" fmla="*/ 2758 h 10000"/>
              <a:gd name="connsiteX35" fmla="*/ 2553 w 10000"/>
              <a:gd name="connsiteY35" fmla="*/ 2247 h 10000"/>
              <a:gd name="connsiteX36" fmla="*/ 2607 w 10000"/>
              <a:gd name="connsiteY36" fmla="*/ 2157 h 10000"/>
              <a:gd name="connsiteX37" fmla="*/ 2702 w 10000"/>
              <a:gd name="connsiteY37" fmla="*/ 1574 h 10000"/>
              <a:gd name="connsiteX38" fmla="*/ 2855 w 10000"/>
              <a:gd name="connsiteY38" fmla="*/ 1499 h 10000"/>
              <a:gd name="connsiteX39" fmla="*/ 3283 w 10000"/>
              <a:gd name="connsiteY39" fmla="*/ 1796 h 10000"/>
              <a:gd name="connsiteX40" fmla="*/ 3383 w 10000"/>
              <a:gd name="connsiteY40" fmla="*/ 2828 h 10000"/>
              <a:gd name="connsiteX41" fmla="*/ 3737 w 10000"/>
              <a:gd name="connsiteY41" fmla="*/ 2507 h 10000"/>
              <a:gd name="connsiteX42" fmla="*/ 3830 w 10000"/>
              <a:gd name="connsiteY42" fmla="*/ 1436 h 10000"/>
              <a:gd name="connsiteX43" fmla="*/ 3897 w 10000"/>
              <a:gd name="connsiteY43" fmla="*/ 1151 h 10000"/>
              <a:gd name="connsiteX44" fmla="*/ 4315 w 10000"/>
              <a:gd name="connsiteY44" fmla="*/ 6740 h 10000"/>
              <a:gd name="connsiteX45" fmla="*/ 4700 w 10000"/>
              <a:gd name="connsiteY45" fmla="*/ 6699 h 10000"/>
              <a:gd name="connsiteX46" fmla="*/ 5071 w 10000"/>
              <a:gd name="connsiteY46" fmla="*/ 739 h 10000"/>
              <a:gd name="connsiteX47" fmla="*/ 5369 w 10000"/>
              <a:gd name="connsiteY47" fmla="*/ 768 h 10000"/>
              <a:gd name="connsiteX48" fmla="*/ 5368 w 10000"/>
              <a:gd name="connsiteY48" fmla="*/ 747 h 10000"/>
              <a:gd name="connsiteX49" fmla="*/ 5871 w 10000"/>
              <a:gd name="connsiteY49" fmla="*/ 1290 h 10000"/>
              <a:gd name="connsiteX50" fmla="*/ 6035 w 10000"/>
              <a:gd name="connsiteY50" fmla="*/ 0 h 10000"/>
              <a:gd name="connsiteX51" fmla="*/ 6568 w 10000"/>
              <a:gd name="connsiteY51" fmla="*/ 111 h 10000"/>
              <a:gd name="connsiteX52" fmla="*/ 6873 w 10000"/>
              <a:gd name="connsiteY52" fmla="*/ 42 h 10000"/>
              <a:gd name="connsiteX53" fmla="*/ 7066 w 10000"/>
              <a:gd name="connsiteY53" fmla="*/ 362 h 10000"/>
              <a:gd name="connsiteX54" fmla="*/ 7376 w 10000"/>
              <a:gd name="connsiteY54" fmla="*/ 6050 h 10000"/>
              <a:gd name="connsiteX55" fmla="*/ 8212 w 10000"/>
              <a:gd name="connsiteY55" fmla="*/ 6037 h 10000"/>
              <a:gd name="connsiteX56" fmla="*/ 8406 w 10000"/>
              <a:gd name="connsiteY56" fmla="*/ 4934 h 10000"/>
              <a:gd name="connsiteX57" fmla="*/ 8534 w 10000"/>
              <a:gd name="connsiteY57" fmla="*/ 5543 h 10000"/>
              <a:gd name="connsiteX58" fmla="*/ 8617 w 10000"/>
              <a:gd name="connsiteY58" fmla="*/ 4997 h 10000"/>
              <a:gd name="connsiteX59" fmla="*/ 8681 w 10000"/>
              <a:gd name="connsiteY59" fmla="*/ 7677 h 10000"/>
              <a:gd name="connsiteX60" fmla="*/ 8746 w 10000"/>
              <a:gd name="connsiteY60" fmla="*/ 6591 h 10000"/>
              <a:gd name="connsiteX61" fmla="*/ 8839 w 10000"/>
              <a:gd name="connsiteY61" fmla="*/ 7814 h 10000"/>
              <a:gd name="connsiteX62" fmla="*/ 8891 w 10000"/>
              <a:gd name="connsiteY62" fmla="*/ 7594 h 10000"/>
              <a:gd name="connsiteX63" fmla="*/ 8917 w 10000"/>
              <a:gd name="connsiteY63" fmla="*/ 7970 h 10000"/>
              <a:gd name="connsiteX64" fmla="*/ 9011 w 10000"/>
              <a:gd name="connsiteY64" fmla="*/ 7983 h 10000"/>
              <a:gd name="connsiteX65" fmla="*/ 9017 w 10000"/>
              <a:gd name="connsiteY65" fmla="*/ 7710 h 10000"/>
              <a:gd name="connsiteX66" fmla="*/ 9127 w 10000"/>
              <a:gd name="connsiteY66" fmla="*/ 7929 h 10000"/>
              <a:gd name="connsiteX67" fmla="*/ 9189 w 10000"/>
              <a:gd name="connsiteY67" fmla="*/ 7833 h 10000"/>
              <a:gd name="connsiteX68" fmla="*/ 9213 w 10000"/>
              <a:gd name="connsiteY68" fmla="*/ 7373 h 10000"/>
              <a:gd name="connsiteX69" fmla="*/ 9247 w 10000"/>
              <a:gd name="connsiteY69" fmla="*/ 7816 h 10000"/>
              <a:gd name="connsiteX70" fmla="*/ 9324 w 10000"/>
              <a:gd name="connsiteY70" fmla="*/ 7586 h 10000"/>
              <a:gd name="connsiteX71" fmla="*/ 9435 w 10000"/>
              <a:gd name="connsiteY71" fmla="*/ 7709 h 10000"/>
              <a:gd name="connsiteX72" fmla="*/ 9494 w 10000"/>
              <a:gd name="connsiteY72" fmla="*/ 7970 h 10000"/>
              <a:gd name="connsiteX73" fmla="*/ 9527 w 10000"/>
              <a:gd name="connsiteY73" fmla="*/ 7732 h 10000"/>
              <a:gd name="connsiteX74" fmla="*/ 9585 w 10000"/>
              <a:gd name="connsiteY74" fmla="*/ 7935 h 10000"/>
              <a:gd name="connsiteX75" fmla="*/ 9625 w 10000"/>
              <a:gd name="connsiteY75" fmla="*/ 7240 h 10000"/>
              <a:gd name="connsiteX76" fmla="*/ 9728 w 10000"/>
              <a:gd name="connsiteY76" fmla="*/ 7911 h 10000"/>
              <a:gd name="connsiteX77" fmla="*/ 9838 w 10000"/>
              <a:gd name="connsiteY77" fmla="*/ 7568 h 10000"/>
              <a:gd name="connsiteX78" fmla="*/ 9840 w 10000"/>
              <a:gd name="connsiteY78" fmla="*/ 7290 h 10000"/>
              <a:gd name="connsiteX79" fmla="*/ 9924 w 10000"/>
              <a:gd name="connsiteY79" fmla="*/ 7601 h 10000"/>
              <a:gd name="connsiteX80" fmla="*/ 10000 w 10000"/>
              <a:gd name="connsiteY80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57 w 10000"/>
              <a:gd name="connsiteY3" fmla="*/ 1570 h 10000"/>
              <a:gd name="connsiteX4" fmla="*/ 708 w 10000"/>
              <a:gd name="connsiteY4" fmla="*/ 1598 h 10000"/>
              <a:gd name="connsiteX5" fmla="*/ 812 w 10000"/>
              <a:gd name="connsiteY5" fmla="*/ 1596 h 10000"/>
              <a:gd name="connsiteX6" fmla="*/ 886 w 10000"/>
              <a:gd name="connsiteY6" fmla="*/ 1233 h 10000"/>
              <a:gd name="connsiteX7" fmla="*/ 969 w 10000"/>
              <a:gd name="connsiteY7" fmla="*/ 2271 h 10000"/>
              <a:gd name="connsiteX8" fmla="*/ 1055 w 10000"/>
              <a:gd name="connsiteY8" fmla="*/ 1574 h 10000"/>
              <a:gd name="connsiteX9" fmla="*/ 1161 w 10000"/>
              <a:gd name="connsiteY9" fmla="*/ 2522 h 10000"/>
              <a:gd name="connsiteX10" fmla="*/ 1218 w 10000"/>
              <a:gd name="connsiteY10" fmla="*/ 1574 h 10000"/>
              <a:gd name="connsiteX11" fmla="*/ 1272 w 10000"/>
              <a:gd name="connsiteY11" fmla="*/ 1844 h 10000"/>
              <a:gd name="connsiteX12" fmla="*/ 1312 w 10000"/>
              <a:gd name="connsiteY12" fmla="*/ 1484 h 10000"/>
              <a:gd name="connsiteX13" fmla="*/ 1359 w 10000"/>
              <a:gd name="connsiteY13" fmla="*/ 2571 h 10000"/>
              <a:gd name="connsiteX14" fmla="*/ 1434 w 10000"/>
              <a:gd name="connsiteY14" fmla="*/ 1305 h 10000"/>
              <a:gd name="connsiteX15" fmla="*/ 1437 w 10000"/>
              <a:gd name="connsiteY15" fmla="*/ 2314 h 10000"/>
              <a:gd name="connsiteX16" fmla="*/ 1498 w 10000"/>
              <a:gd name="connsiteY16" fmla="*/ 2668 h 10000"/>
              <a:gd name="connsiteX17" fmla="*/ 1545 w 10000"/>
              <a:gd name="connsiteY17" fmla="*/ 2453 h 10000"/>
              <a:gd name="connsiteX18" fmla="*/ 1569 w 10000"/>
              <a:gd name="connsiteY18" fmla="*/ 1755 h 10000"/>
              <a:gd name="connsiteX19" fmla="*/ 1660 w 10000"/>
              <a:gd name="connsiteY19" fmla="*/ 2668 h 10000"/>
              <a:gd name="connsiteX20" fmla="*/ 1735 w 10000"/>
              <a:gd name="connsiteY20" fmla="*/ 2297 h 10000"/>
              <a:gd name="connsiteX21" fmla="*/ 1772 w 10000"/>
              <a:gd name="connsiteY21" fmla="*/ 1124 h 10000"/>
              <a:gd name="connsiteX22" fmla="*/ 1797 w 10000"/>
              <a:gd name="connsiteY22" fmla="*/ 2433 h 10000"/>
              <a:gd name="connsiteX23" fmla="*/ 1825 w 10000"/>
              <a:gd name="connsiteY23" fmla="*/ 2115 h 10000"/>
              <a:gd name="connsiteX24" fmla="*/ 1835 w 10000"/>
              <a:gd name="connsiteY24" fmla="*/ 2340 h 10000"/>
              <a:gd name="connsiteX25" fmla="*/ 1893 w 10000"/>
              <a:gd name="connsiteY25" fmla="*/ 1797 h 10000"/>
              <a:gd name="connsiteX26" fmla="*/ 1988 w 10000"/>
              <a:gd name="connsiteY26" fmla="*/ 2380 h 10000"/>
              <a:gd name="connsiteX27" fmla="*/ 1983 w 10000"/>
              <a:gd name="connsiteY27" fmla="*/ 2928 h 10000"/>
              <a:gd name="connsiteX28" fmla="*/ 2044 w 10000"/>
              <a:gd name="connsiteY28" fmla="*/ 3277 h 10000"/>
              <a:gd name="connsiteX29" fmla="*/ 2081 w 10000"/>
              <a:gd name="connsiteY29" fmla="*/ 2698 h 10000"/>
              <a:gd name="connsiteX30" fmla="*/ 2128 w 10000"/>
              <a:gd name="connsiteY30" fmla="*/ 3328 h 10000"/>
              <a:gd name="connsiteX31" fmla="*/ 2217 w 10000"/>
              <a:gd name="connsiteY31" fmla="*/ 1484 h 10000"/>
              <a:gd name="connsiteX32" fmla="*/ 2281 w 10000"/>
              <a:gd name="connsiteY32" fmla="*/ 3557 h 10000"/>
              <a:gd name="connsiteX33" fmla="*/ 2405 w 10000"/>
              <a:gd name="connsiteY33" fmla="*/ 2517 h 10000"/>
              <a:gd name="connsiteX34" fmla="*/ 2418 w 10000"/>
              <a:gd name="connsiteY34" fmla="*/ 1978 h 10000"/>
              <a:gd name="connsiteX35" fmla="*/ 2495 w 10000"/>
              <a:gd name="connsiteY35" fmla="*/ 2758 h 10000"/>
              <a:gd name="connsiteX36" fmla="*/ 2553 w 10000"/>
              <a:gd name="connsiteY36" fmla="*/ 2247 h 10000"/>
              <a:gd name="connsiteX37" fmla="*/ 2607 w 10000"/>
              <a:gd name="connsiteY37" fmla="*/ 2157 h 10000"/>
              <a:gd name="connsiteX38" fmla="*/ 2702 w 10000"/>
              <a:gd name="connsiteY38" fmla="*/ 1574 h 10000"/>
              <a:gd name="connsiteX39" fmla="*/ 2855 w 10000"/>
              <a:gd name="connsiteY39" fmla="*/ 1499 h 10000"/>
              <a:gd name="connsiteX40" fmla="*/ 3283 w 10000"/>
              <a:gd name="connsiteY40" fmla="*/ 1796 h 10000"/>
              <a:gd name="connsiteX41" fmla="*/ 3383 w 10000"/>
              <a:gd name="connsiteY41" fmla="*/ 2828 h 10000"/>
              <a:gd name="connsiteX42" fmla="*/ 3737 w 10000"/>
              <a:gd name="connsiteY42" fmla="*/ 2507 h 10000"/>
              <a:gd name="connsiteX43" fmla="*/ 3830 w 10000"/>
              <a:gd name="connsiteY43" fmla="*/ 1436 h 10000"/>
              <a:gd name="connsiteX44" fmla="*/ 3897 w 10000"/>
              <a:gd name="connsiteY44" fmla="*/ 1151 h 10000"/>
              <a:gd name="connsiteX45" fmla="*/ 4315 w 10000"/>
              <a:gd name="connsiteY45" fmla="*/ 6740 h 10000"/>
              <a:gd name="connsiteX46" fmla="*/ 4700 w 10000"/>
              <a:gd name="connsiteY46" fmla="*/ 6699 h 10000"/>
              <a:gd name="connsiteX47" fmla="*/ 5071 w 10000"/>
              <a:gd name="connsiteY47" fmla="*/ 739 h 10000"/>
              <a:gd name="connsiteX48" fmla="*/ 5369 w 10000"/>
              <a:gd name="connsiteY48" fmla="*/ 768 h 10000"/>
              <a:gd name="connsiteX49" fmla="*/ 5368 w 10000"/>
              <a:gd name="connsiteY49" fmla="*/ 747 h 10000"/>
              <a:gd name="connsiteX50" fmla="*/ 5871 w 10000"/>
              <a:gd name="connsiteY50" fmla="*/ 1290 h 10000"/>
              <a:gd name="connsiteX51" fmla="*/ 6035 w 10000"/>
              <a:gd name="connsiteY51" fmla="*/ 0 h 10000"/>
              <a:gd name="connsiteX52" fmla="*/ 6568 w 10000"/>
              <a:gd name="connsiteY52" fmla="*/ 111 h 10000"/>
              <a:gd name="connsiteX53" fmla="*/ 6873 w 10000"/>
              <a:gd name="connsiteY53" fmla="*/ 42 h 10000"/>
              <a:gd name="connsiteX54" fmla="*/ 7066 w 10000"/>
              <a:gd name="connsiteY54" fmla="*/ 362 h 10000"/>
              <a:gd name="connsiteX55" fmla="*/ 7376 w 10000"/>
              <a:gd name="connsiteY55" fmla="*/ 6050 h 10000"/>
              <a:gd name="connsiteX56" fmla="*/ 8212 w 10000"/>
              <a:gd name="connsiteY56" fmla="*/ 6037 h 10000"/>
              <a:gd name="connsiteX57" fmla="*/ 8406 w 10000"/>
              <a:gd name="connsiteY57" fmla="*/ 4934 h 10000"/>
              <a:gd name="connsiteX58" fmla="*/ 8534 w 10000"/>
              <a:gd name="connsiteY58" fmla="*/ 5543 h 10000"/>
              <a:gd name="connsiteX59" fmla="*/ 8617 w 10000"/>
              <a:gd name="connsiteY59" fmla="*/ 4997 h 10000"/>
              <a:gd name="connsiteX60" fmla="*/ 8681 w 10000"/>
              <a:gd name="connsiteY60" fmla="*/ 7677 h 10000"/>
              <a:gd name="connsiteX61" fmla="*/ 8746 w 10000"/>
              <a:gd name="connsiteY61" fmla="*/ 6591 h 10000"/>
              <a:gd name="connsiteX62" fmla="*/ 8839 w 10000"/>
              <a:gd name="connsiteY62" fmla="*/ 7814 h 10000"/>
              <a:gd name="connsiteX63" fmla="*/ 8891 w 10000"/>
              <a:gd name="connsiteY63" fmla="*/ 7594 h 10000"/>
              <a:gd name="connsiteX64" fmla="*/ 8917 w 10000"/>
              <a:gd name="connsiteY64" fmla="*/ 7970 h 10000"/>
              <a:gd name="connsiteX65" fmla="*/ 9011 w 10000"/>
              <a:gd name="connsiteY65" fmla="*/ 7983 h 10000"/>
              <a:gd name="connsiteX66" fmla="*/ 9017 w 10000"/>
              <a:gd name="connsiteY66" fmla="*/ 7710 h 10000"/>
              <a:gd name="connsiteX67" fmla="*/ 9127 w 10000"/>
              <a:gd name="connsiteY67" fmla="*/ 7929 h 10000"/>
              <a:gd name="connsiteX68" fmla="*/ 9189 w 10000"/>
              <a:gd name="connsiteY68" fmla="*/ 7833 h 10000"/>
              <a:gd name="connsiteX69" fmla="*/ 9213 w 10000"/>
              <a:gd name="connsiteY69" fmla="*/ 7373 h 10000"/>
              <a:gd name="connsiteX70" fmla="*/ 9247 w 10000"/>
              <a:gd name="connsiteY70" fmla="*/ 7816 h 10000"/>
              <a:gd name="connsiteX71" fmla="*/ 9324 w 10000"/>
              <a:gd name="connsiteY71" fmla="*/ 7586 h 10000"/>
              <a:gd name="connsiteX72" fmla="*/ 9435 w 10000"/>
              <a:gd name="connsiteY72" fmla="*/ 7709 h 10000"/>
              <a:gd name="connsiteX73" fmla="*/ 9494 w 10000"/>
              <a:gd name="connsiteY73" fmla="*/ 7970 h 10000"/>
              <a:gd name="connsiteX74" fmla="*/ 9527 w 10000"/>
              <a:gd name="connsiteY74" fmla="*/ 7732 h 10000"/>
              <a:gd name="connsiteX75" fmla="*/ 9585 w 10000"/>
              <a:gd name="connsiteY75" fmla="*/ 7935 h 10000"/>
              <a:gd name="connsiteX76" fmla="*/ 9625 w 10000"/>
              <a:gd name="connsiteY76" fmla="*/ 7240 h 10000"/>
              <a:gd name="connsiteX77" fmla="*/ 9728 w 10000"/>
              <a:gd name="connsiteY77" fmla="*/ 7911 h 10000"/>
              <a:gd name="connsiteX78" fmla="*/ 9838 w 10000"/>
              <a:gd name="connsiteY78" fmla="*/ 7568 h 10000"/>
              <a:gd name="connsiteX79" fmla="*/ 9840 w 10000"/>
              <a:gd name="connsiteY79" fmla="*/ 7290 h 10000"/>
              <a:gd name="connsiteX80" fmla="*/ 9924 w 10000"/>
              <a:gd name="connsiteY80" fmla="*/ 7601 h 10000"/>
              <a:gd name="connsiteX81" fmla="*/ 10000 w 10000"/>
              <a:gd name="connsiteY81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57 w 10000"/>
              <a:gd name="connsiteY3" fmla="*/ 1570 h 10000"/>
              <a:gd name="connsiteX4" fmla="*/ 759 w 10000"/>
              <a:gd name="connsiteY4" fmla="*/ 2495 h 10000"/>
              <a:gd name="connsiteX5" fmla="*/ 812 w 10000"/>
              <a:gd name="connsiteY5" fmla="*/ 1596 h 10000"/>
              <a:gd name="connsiteX6" fmla="*/ 886 w 10000"/>
              <a:gd name="connsiteY6" fmla="*/ 1233 h 10000"/>
              <a:gd name="connsiteX7" fmla="*/ 969 w 10000"/>
              <a:gd name="connsiteY7" fmla="*/ 2271 h 10000"/>
              <a:gd name="connsiteX8" fmla="*/ 1055 w 10000"/>
              <a:gd name="connsiteY8" fmla="*/ 1574 h 10000"/>
              <a:gd name="connsiteX9" fmla="*/ 1161 w 10000"/>
              <a:gd name="connsiteY9" fmla="*/ 2522 h 10000"/>
              <a:gd name="connsiteX10" fmla="*/ 1218 w 10000"/>
              <a:gd name="connsiteY10" fmla="*/ 1574 h 10000"/>
              <a:gd name="connsiteX11" fmla="*/ 1272 w 10000"/>
              <a:gd name="connsiteY11" fmla="*/ 1844 h 10000"/>
              <a:gd name="connsiteX12" fmla="*/ 1312 w 10000"/>
              <a:gd name="connsiteY12" fmla="*/ 1484 h 10000"/>
              <a:gd name="connsiteX13" fmla="*/ 1359 w 10000"/>
              <a:gd name="connsiteY13" fmla="*/ 2571 h 10000"/>
              <a:gd name="connsiteX14" fmla="*/ 1434 w 10000"/>
              <a:gd name="connsiteY14" fmla="*/ 1305 h 10000"/>
              <a:gd name="connsiteX15" fmla="*/ 1437 w 10000"/>
              <a:gd name="connsiteY15" fmla="*/ 2314 h 10000"/>
              <a:gd name="connsiteX16" fmla="*/ 1498 w 10000"/>
              <a:gd name="connsiteY16" fmla="*/ 2668 h 10000"/>
              <a:gd name="connsiteX17" fmla="*/ 1545 w 10000"/>
              <a:gd name="connsiteY17" fmla="*/ 2453 h 10000"/>
              <a:gd name="connsiteX18" fmla="*/ 1569 w 10000"/>
              <a:gd name="connsiteY18" fmla="*/ 1755 h 10000"/>
              <a:gd name="connsiteX19" fmla="*/ 1660 w 10000"/>
              <a:gd name="connsiteY19" fmla="*/ 2668 h 10000"/>
              <a:gd name="connsiteX20" fmla="*/ 1735 w 10000"/>
              <a:gd name="connsiteY20" fmla="*/ 2297 h 10000"/>
              <a:gd name="connsiteX21" fmla="*/ 1772 w 10000"/>
              <a:gd name="connsiteY21" fmla="*/ 1124 h 10000"/>
              <a:gd name="connsiteX22" fmla="*/ 1797 w 10000"/>
              <a:gd name="connsiteY22" fmla="*/ 2433 h 10000"/>
              <a:gd name="connsiteX23" fmla="*/ 1825 w 10000"/>
              <a:gd name="connsiteY23" fmla="*/ 2115 h 10000"/>
              <a:gd name="connsiteX24" fmla="*/ 1835 w 10000"/>
              <a:gd name="connsiteY24" fmla="*/ 2340 h 10000"/>
              <a:gd name="connsiteX25" fmla="*/ 1893 w 10000"/>
              <a:gd name="connsiteY25" fmla="*/ 1797 h 10000"/>
              <a:gd name="connsiteX26" fmla="*/ 1988 w 10000"/>
              <a:gd name="connsiteY26" fmla="*/ 2380 h 10000"/>
              <a:gd name="connsiteX27" fmla="*/ 1983 w 10000"/>
              <a:gd name="connsiteY27" fmla="*/ 2928 h 10000"/>
              <a:gd name="connsiteX28" fmla="*/ 2044 w 10000"/>
              <a:gd name="connsiteY28" fmla="*/ 3277 h 10000"/>
              <a:gd name="connsiteX29" fmla="*/ 2081 w 10000"/>
              <a:gd name="connsiteY29" fmla="*/ 2698 h 10000"/>
              <a:gd name="connsiteX30" fmla="*/ 2128 w 10000"/>
              <a:gd name="connsiteY30" fmla="*/ 3328 h 10000"/>
              <a:gd name="connsiteX31" fmla="*/ 2217 w 10000"/>
              <a:gd name="connsiteY31" fmla="*/ 1484 h 10000"/>
              <a:gd name="connsiteX32" fmla="*/ 2281 w 10000"/>
              <a:gd name="connsiteY32" fmla="*/ 3557 h 10000"/>
              <a:gd name="connsiteX33" fmla="*/ 2405 w 10000"/>
              <a:gd name="connsiteY33" fmla="*/ 2517 h 10000"/>
              <a:gd name="connsiteX34" fmla="*/ 2418 w 10000"/>
              <a:gd name="connsiteY34" fmla="*/ 1978 h 10000"/>
              <a:gd name="connsiteX35" fmla="*/ 2495 w 10000"/>
              <a:gd name="connsiteY35" fmla="*/ 2758 h 10000"/>
              <a:gd name="connsiteX36" fmla="*/ 2553 w 10000"/>
              <a:gd name="connsiteY36" fmla="*/ 2247 h 10000"/>
              <a:gd name="connsiteX37" fmla="*/ 2607 w 10000"/>
              <a:gd name="connsiteY37" fmla="*/ 2157 h 10000"/>
              <a:gd name="connsiteX38" fmla="*/ 2702 w 10000"/>
              <a:gd name="connsiteY38" fmla="*/ 1574 h 10000"/>
              <a:gd name="connsiteX39" fmla="*/ 2855 w 10000"/>
              <a:gd name="connsiteY39" fmla="*/ 1499 h 10000"/>
              <a:gd name="connsiteX40" fmla="*/ 3283 w 10000"/>
              <a:gd name="connsiteY40" fmla="*/ 1796 h 10000"/>
              <a:gd name="connsiteX41" fmla="*/ 3383 w 10000"/>
              <a:gd name="connsiteY41" fmla="*/ 2828 h 10000"/>
              <a:gd name="connsiteX42" fmla="*/ 3737 w 10000"/>
              <a:gd name="connsiteY42" fmla="*/ 2507 h 10000"/>
              <a:gd name="connsiteX43" fmla="*/ 3830 w 10000"/>
              <a:gd name="connsiteY43" fmla="*/ 1436 h 10000"/>
              <a:gd name="connsiteX44" fmla="*/ 3897 w 10000"/>
              <a:gd name="connsiteY44" fmla="*/ 1151 h 10000"/>
              <a:gd name="connsiteX45" fmla="*/ 4315 w 10000"/>
              <a:gd name="connsiteY45" fmla="*/ 6740 h 10000"/>
              <a:gd name="connsiteX46" fmla="*/ 4700 w 10000"/>
              <a:gd name="connsiteY46" fmla="*/ 6699 h 10000"/>
              <a:gd name="connsiteX47" fmla="*/ 5071 w 10000"/>
              <a:gd name="connsiteY47" fmla="*/ 739 h 10000"/>
              <a:gd name="connsiteX48" fmla="*/ 5369 w 10000"/>
              <a:gd name="connsiteY48" fmla="*/ 768 h 10000"/>
              <a:gd name="connsiteX49" fmla="*/ 5368 w 10000"/>
              <a:gd name="connsiteY49" fmla="*/ 747 h 10000"/>
              <a:gd name="connsiteX50" fmla="*/ 5871 w 10000"/>
              <a:gd name="connsiteY50" fmla="*/ 1290 h 10000"/>
              <a:gd name="connsiteX51" fmla="*/ 6035 w 10000"/>
              <a:gd name="connsiteY51" fmla="*/ 0 h 10000"/>
              <a:gd name="connsiteX52" fmla="*/ 6568 w 10000"/>
              <a:gd name="connsiteY52" fmla="*/ 111 h 10000"/>
              <a:gd name="connsiteX53" fmla="*/ 6873 w 10000"/>
              <a:gd name="connsiteY53" fmla="*/ 42 h 10000"/>
              <a:gd name="connsiteX54" fmla="*/ 7066 w 10000"/>
              <a:gd name="connsiteY54" fmla="*/ 362 h 10000"/>
              <a:gd name="connsiteX55" fmla="*/ 7376 w 10000"/>
              <a:gd name="connsiteY55" fmla="*/ 6050 h 10000"/>
              <a:gd name="connsiteX56" fmla="*/ 8212 w 10000"/>
              <a:gd name="connsiteY56" fmla="*/ 6037 h 10000"/>
              <a:gd name="connsiteX57" fmla="*/ 8406 w 10000"/>
              <a:gd name="connsiteY57" fmla="*/ 4934 h 10000"/>
              <a:gd name="connsiteX58" fmla="*/ 8534 w 10000"/>
              <a:gd name="connsiteY58" fmla="*/ 5543 h 10000"/>
              <a:gd name="connsiteX59" fmla="*/ 8617 w 10000"/>
              <a:gd name="connsiteY59" fmla="*/ 4997 h 10000"/>
              <a:gd name="connsiteX60" fmla="*/ 8681 w 10000"/>
              <a:gd name="connsiteY60" fmla="*/ 7677 h 10000"/>
              <a:gd name="connsiteX61" fmla="*/ 8746 w 10000"/>
              <a:gd name="connsiteY61" fmla="*/ 6591 h 10000"/>
              <a:gd name="connsiteX62" fmla="*/ 8839 w 10000"/>
              <a:gd name="connsiteY62" fmla="*/ 7814 h 10000"/>
              <a:gd name="connsiteX63" fmla="*/ 8891 w 10000"/>
              <a:gd name="connsiteY63" fmla="*/ 7594 h 10000"/>
              <a:gd name="connsiteX64" fmla="*/ 8917 w 10000"/>
              <a:gd name="connsiteY64" fmla="*/ 7970 h 10000"/>
              <a:gd name="connsiteX65" fmla="*/ 9011 w 10000"/>
              <a:gd name="connsiteY65" fmla="*/ 7983 h 10000"/>
              <a:gd name="connsiteX66" fmla="*/ 9017 w 10000"/>
              <a:gd name="connsiteY66" fmla="*/ 7710 h 10000"/>
              <a:gd name="connsiteX67" fmla="*/ 9127 w 10000"/>
              <a:gd name="connsiteY67" fmla="*/ 7929 h 10000"/>
              <a:gd name="connsiteX68" fmla="*/ 9189 w 10000"/>
              <a:gd name="connsiteY68" fmla="*/ 7833 h 10000"/>
              <a:gd name="connsiteX69" fmla="*/ 9213 w 10000"/>
              <a:gd name="connsiteY69" fmla="*/ 7373 h 10000"/>
              <a:gd name="connsiteX70" fmla="*/ 9247 w 10000"/>
              <a:gd name="connsiteY70" fmla="*/ 7816 h 10000"/>
              <a:gd name="connsiteX71" fmla="*/ 9324 w 10000"/>
              <a:gd name="connsiteY71" fmla="*/ 7586 h 10000"/>
              <a:gd name="connsiteX72" fmla="*/ 9435 w 10000"/>
              <a:gd name="connsiteY72" fmla="*/ 7709 h 10000"/>
              <a:gd name="connsiteX73" fmla="*/ 9494 w 10000"/>
              <a:gd name="connsiteY73" fmla="*/ 7970 h 10000"/>
              <a:gd name="connsiteX74" fmla="*/ 9527 w 10000"/>
              <a:gd name="connsiteY74" fmla="*/ 7732 h 10000"/>
              <a:gd name="connsiteX75" fmla="*/ 9585 w 10000"/>
              <a:gd name="connsiteY75" fmla="*/ 7935 h 10000"/>
              <a:gd name="connsiteX76" fmla="*/ 9625 w 10000"/>
              <a:gd name="connsiteY76" fmla="*/ 7240 h 10000"/>
              <a:gd name="connsiteX77" fmla="*/ 9728 w 10000"/>
              <a:gd name="connsiteY77" fmla="*/ 7911 h 10000"/>
              <a:gd name="connsiteX78" fmla="*/ 9838 w 10000"/>
              <a:gd name="connsiteY78" fmla="*/ 7568 h 10000"/>
              <a:gd name="connsiteX79" fmla="*/ 9840 w 10000"/>
              <a:gd name="connsiteY79" fmla="*/ 7290 h 10000"/>
              <a:gd name="connsiteX80" fmla="*/ 9924 w 10000"/>
              <a:gd name="connsiteY80" fmla="*/ 7601 h 10000"/>
              <a:gd name="connsiteX81" fmla="*/ 10000 w 10000"/>
              <a:gd name="connsiteY81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57 w 10000"/>
              <a:gd name="connsiteY3" fmla="*/ 1570 h 10000"/>
              <a:gd name="connsiteX4" fmla="*/ 641 w 10000"/>
              <a:gd name="connsiteY4" fmla="*/ 199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5071 w 10000"/>
              <a:gd name="connsiteY48" fmla="*/ 739 h 10000"/>
              <a:gd name="connsiteX49" fmla="*/ 5369 w 10000"/>
              <a:gd name="connsiteY49" fmla="*/ 768 h 10000"/>
              <a:gd name="connsiteX50" fmla="*/ 5368 w 10000"/>
              <a:gd name="connsiteY50" fmla="*/ 747 h 10000"/>
              <a:gd name="connsiteX51" fmla="*/ 5871 w 10000"/>
              <a:gd name="connsiteY51" fmla="*/ 1290 h 10000"/>
              <a:gd name="connsiteX52" fmla="*/ 6035 w 10000"/>
              <a:gd name="connsiteY52" fmla="*/ 0 h 10000"/>
              <a:gd name="connsiteX53" fmla="*/ 6568 w 10000"/>
              <a:gd name="connsiteY53" fmla="*/ 111 h 10000"/>
              <a:gd name="connsiteX54" fmla="*/ 6873 w 10000"/>
              <a:gd name="connsiteY54" fmla="*/ 42 h 10000"/>
              <a:gd name="connsiteX55" fmla="*/ 7066 w 10000"/>
              <a:gd name="connsiteY55" fmla="*/ 362 h 10000"/>
              <a:gd name="connsiteX56" fmla="*/ 7376 w 10000"/>
              <a:gd name="connsiteY56" fmla="*/ 6050 h 10000"/>
              <a:gd name="connsiteX57" fmla="*/ 8212 w 10000"/>
              <a:gd name="connsiteY57" fmla="*/ 6037 h 10000"/>
              <a:gd name="connsiteX58" fmla="*/ 8406 w 10000"/>
              <a:gd name="connsiteY58" fmla="*/ 4934 h 10000"/>
              <a:gd name="connsiteX59" fmla="*/ 8534 w 10000"/>
              <a:gd name="connsiteY59" fmla="*/ 5543 h 10000"/>
              <a:gd name="connsiteX60" fmla="*/ 8617 w 10000"/>
              <a:gd name="connsiteY60" fmla="*/ 4997 h 10000"/>
              <a:gd name="connsiteX61" fmla="*/ 8681 w 10000"/>
              <a:gd name="connsiteY61" fmla="*/ 7677 h 10000"/>
              <a:gd name="connsiteX62" fmla="*/ 8746 w 10000"/>
              <a:gd name="connsiteY62" fmla="*/ 6591 h 10000"/>
              <a:gd name="connsiteX63" fmla="*/ 8839 w 10000"/>
              <a:gd name="connsiteY63" fmla="*/ 7814 h 10000"/>
              <a:gd name="connsiteX64" fmla="*/ 8891 w 10000"/>
              <a:gd name="connsiteY64" fmla="*/ 7594 h 10000"/>
              <a:gd name="connsiteX65" fmla="*/ 8917 w 10000"/>
              <a:gd name="connsiteY65" fmla="*/ 7970 h 10000"/>
              <a:gd name="connsiteX66" fmla="*/ 9011 w 10000"/>
              <a:gd name="connsiteY66" fmla="*/ 7983 h 10000"/>
              <a:gd name="connsiteX67" fmla="*/ 9017 w 10000"/>
              <a:gd name="connsiteY67" fmla="*/ 7710 h 10000"/>
              <a:gd name="connsiteX68" fmla="*/ 9127 w 10000"/>
              <a:gd name="connsiteY68" fmla="*/ 7929 h 10000"/>
              <a:gd name="connsiteX69" fmla="*/ 9189 w 10000"/>
              <a:gd name="connsiteY69" fmla="*/ 7833 h 10000"/>
              <a:gd name="connsiteX70" fmla="*/ 9213 w 10000"/>
              <a:gd name="connsiteY70" fmla="*/ 7373 h 10000"/>
              <a:gd name="connsiteX71" fmla="*/ 9247 w 10000"/>
              <a:gd name="connsiteY71" fmla="*/ 7816 h 10000"/>
              <a:gd name="connsiteX72" fmla="*/ 9324 w 10000"/>
              <a:gd name="connsiteY72" fmla="*/ 7586 h 10000"/>
              <a:gd name="connsiteX73" fmla="*/ 9435 w 10000"/>
              <a:gd name="connsiteY73" fmla="*/ 7709 h 10000"/>
              <a:gd name="connsiteX74" fmla="*/ 9494 w 10000"/>
              <a:gd name="connsiteY74" fmla="*/ 7970 h 10000"/>
              <a:gd name="connsiteX75" fmla="*/ 9527 w 10000"/>
              <a:gd name="connsiteY75" fmla="*/ 7732 h 10000"/>
              <a:gd name="connsiteX76" fmla="*/ 9585 w 10000"/>
              <a:gd name="connsiteY76" fmla="*/ 7935 h 10000"/>
              <a:gd name="connsiteX77" fmla="*/ 9625 w 10000"/>
              <a:gd name="connsiteY77" fmla="*/ 7240 h 10000"/>
              <a:gd name="connsiteX78" fmla="*/ 9728 w 10000"/>
              <a:gd name="connsiteY78" fmla="*/ 7911 h 10000"/>
              <a:gd name="connsiteX79" fmla="*/ 9838 w 10000"/>
              <a:gd name="connsiteY79" fmla="*/ 7568 h 10000"/>
              <a:gd name="connsiteX80" fmla="*/ 9840 w 10000"/>
              <a:gd name="connsiteY80" fmla="*/ 7290 h 10000"/>
              <a:gd name="connsiteX81" fmla="*/ 9924 w 10000"/>
              <a:gd name="connsiteY81" fmla="*/ 7601 h 10000"/>
              <a:gd name="connsiteX82" fmla="*/ 10000 w 10000"/>
              <a:gd name="connsiteY82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57 w 10000"/>
              <a:gd name="connsiteY3" fmla="*/ 1570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5071 w 10000"/>
              <a:gd name="connsiteY48" fmla="*/ 739 h 10000"/>
              <a:gd name="connsiteX49" fmla="*/ 5369 w 10000"/>
              <a:gd name="connsiteY49" fmla="*/ 768 h 10000"/>
              <a:gd name="connsiteX50" fmla="*/ 5368 w 10000"/>
              <a:gd name="connsiteY50" fmla="*/ 747 h 10000"/>
              <a:gd name="connsiteX51" fmla="*/ 5871 w 10000"/>
              <a:gd name="connsiteY51" fmla="*/ 1290 h 10000"/>
              <a:gd name="connsiteX52" fmla="*/ 6035 w 10000"/>
              <a:gd name="connsiteY52" fmla="*/ 0 h 10000"/>
              <a:gd name="connsiteX53" fmla="*/ 6568 w 10000"/>
              <a:gd name="connsiteY53" fmla="*/ 111 h 10000"/>
              <a:gd name="connsiteX54" fmla="*/ 6873 w 10000"/>
              <a:gd name="connsiteY54" fmla="*/ 42 h 10000"/>
              <a:gd name="connsiteX55" fmla="*/ 7066 w 10000"/>
              <a:gd name="connsiteY55" fmla="*/ 362 h 10000"/>
              <a:gd name="connsiteX56" fmla="*/ 7376 w 10000"/>
              <a:gd name="connsiteY56" fmla="*/ 6050 h 10000"/>
              <a:gd name="connsiteX57" fmla="*/ 8212 w 10000"/>
              <a:gd name="connsiteY57" fmla="*/ 6037 h 10000"/>
              <a:gd name="connsiteX58" fmla="*/ 8406 w 10000"/>
              <a:gd name="connsiteY58" fmla="*/ 4934 h 10000"/>
              <a:gd name="connsiteX59" fmla="*/ 8534 w 10000"/>
              <a:gd name="connsiteY59" fmla="*/ 5543 h 10000"/>
              <a:gd name="connsiteX60" fmla="*/ 8617 w 10000"/>
              <a:gd name="connsiteY60" fmla="*/ 4997 h 10000"/>
              <a:gd name="connsiteX61" fmla="*/ 8681 w 10000"/>
              <a:gd name="connsiteY61" fmla="*/ 7677 h 10000"/>
              <a:gd name="connsiteX62" fmla="*/ 8746 w 10000"/>
              <a:gd name="connsiteY62" fmla="*/ 6591 h 10000"/>
              <a:gd name="connsiteX63" fmla="*/ 8839 w 10000"/>
              <a:gd name="connsiteY63" fmla="*/ 7814 h 10000"/>
              <a:gd name="connsiteX64" fmla="*/ 8891 w 10000"/>
              <a:gd name="connsiteY64" fmla="*/ 7594 h 10000"/>
              <a:gd name="connsiteX65" fmla="*/ 8917 w 10000"/>
              <a:gd name="connsiteY65" fmla="*/ 7970 h 10000"/>
              <a:gd name="connsiteX66" fmla="*/ 9011 w 10000"/>
              <a:gd name="connsiteY66" fmla="*/ 7983 h 10000"/>
              <a:gd name="connsiteX67" fmla="*/ 9017 w 10000"/>
              <a:gd name="connsiteY67" fmla="*/ 7710 h 10000"/>
              <a:gd name="connsiteX68" fmla="*/ 9127 w 10000"/>
              <a:gd name="connsiteY68" fmla="*/ 7929 h 10000"/>
              <a:gd name="connsiteX69" fmla="*/ 9189 w 10000"/>
              <a:gd name="connsiteY69" fmla="*/ 7833 h 10000"/>
              <a:gd name="connsiteX70" fmla="*/ 9213 w 10000"/>
              <a:gd name="connsiteY70" fmla="*/ 7373 h 10000"/>
              <a:gd name="connsiteX71" fmla="*/ 9247 w 10000"/>
              <a:gd name="connsiteY71" fmla="*/ 7816 h 10000"/>
              <a:gd name="connsiteX72" fmla="*/ 9324 w 10000"/>
              <a:gd name="connsiteY72" fmla="*/ 7586 h 10000"/>
              <a:gd name="connsiteX73" fmla="*/ 9435 w 10000"/>
              <a:gd name="connsiteY73" fmla="*/ 7709 h 10000"/>
              <a:gd name="connsiteX74" fmla="*/ 9494 w 10000"/>
              <a:gd name="connsiteY74" fmla="*/ 7970 h 10000"/>
              <a:gd name="connsiteX75" fmla="*/ 9527 w 10000"/>
              <a:gd name="connsiteY75" fmla="*/ 7732 h 10000"/>
              <a:gd name="connsiteX76" fmla="*/ 9585 w 10000"/>
              <a:gd name="connsiteY76" fmla="*/ 7935 h 10000"/>
              <a:gd name="connsiteX77" fmla="*/ 9625 w 10000"/>
              <a:gd name="connsiteY77" fmla="*/ 7240 h 10000"/>
              <a:gd name="connsiteX78" fmla="*/ 9728 w 10000"/>
              <a:gd name="connsiteY78" fmla="*/ 7911 h 10000"/>
              <a:gd name="connsiteX79" fmla="*/ 9838 w 10000"/>
              <a:gd name="connsiteY79" fmla="*/ 7568 h 10000"/>
              <a:gd name="connsiteX80" fmla="*/ 9840 w 10000"/>
              <a:gd name="connsiteY80" fmla="*/ 7290 h 10000"/>
              <a:gd name="connsiteX81" fmla="*/ 9924 w 10000"/>
              <a:gd name="connsiteY81" fmla="*/ 7601 h 10000"/>
              <a:gd name="connsiteX82" fmla="*/ 10000 w 10000"/>
              <a:gd name="connsiteY82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5071 w 10000"/>
              <a:gd name="connsiteY48" fmla="*/ 739 h 10000"/>
              <a:gd name="connsiteX49" fmla="*/ 5369 w 10000"/>
              <a:gd name="connsiteY49" fmla="*/ 768 h 10000"/>
              <a:gd name="connsiteX50" fmla="*/ 5368 w 10000"/>
              <a:gd name="connsiteY50" fmla="*/ 747 h 10000"/>
              <a:gd name="connsiteX51" fmla="*/ 5871 w 10000"/>
              <a:gd name="connsiteY51" fmla="*/ 1290 h 10000"/>
              <a:gd name="connsiteX52" fmla="*/ 6035 w 10000"/>
              <a:gd name="connsiteY52" fmla="*/ 0 h 10000"/>
              <a:gd name="connsiteX53" fmla="*/ 6568 w 10000"/>
              <a:gd name="connsiteY53" fmla="*/ 111 h 10000"/>
              <a:gd name="connsiteX54" fmla="*/ 6873 w 10000"/>
              <a:gd name="connsiteY54" fmla="*/ 42 h 10000"/>
              <a:gd name="connsiteX55" fmla="*/ 7066 w 10000"/>
              <a:gd name="connsiteY55" fmla="*/ 362 h 10000"/>
              <a:gd name="connsiteX56" fmla="*/ 7376 w 10000"/>
              <a:gd name="connsiteY56" fmla="*/ 6050 h 10000"/>
              <a:gd name="connsiteX57" fmla="*/ 8212 w 10000"/>
              <a:gd name="connsiteY57" fmla="*/ 6037 h 10000"/>
              <a:gd name="connsiteX58" fmla="*/ 8406 w 10000"/>
              <a:gd name="connsiteY58" fmla="*/ 4934 h 10000"/>
              <a:gd name="connsiteX59" fmla="*/ 8534 w 10000"/>
              <a:gd name="connsiteY59" fmla="*/ 5543 h 10000"/>
              <a:gd name="connsiteX60" fmla="*/ 8617 w 10000"/>
              <a:gd name="connsiteY60" fmla="*/ 4997 h 10000"/>
              <a:gd name="connsiteX61" fmla="*/ 8681 w 10000"/>
              <a:gd name="connsiteY61" fmla="*/ 7677 h 10000"/>
              <a:gd name="connsiteX62" fmla="*/ 8746 w 10000"/>
              <a:gd name="connsiteY62" fmla="*/ 6591 h 10000"/>
              <a:gd name="connsiteX63" fmla="*/ 8839 w 10000"/>
              <a:gd name="connsiteY63" fmla="*/ 7814 h 10000"/>
              <a:gd name="connsiteX64" fmla="*/ 8891 w 10000"/>
              <a:gd name="connsiteY64" fmla="*/ 7594 h 10000"/>
              <a:gd name="connsiteX65" fmla="*/ 8917 w 10000"/>
              <a:gd name="connsiteY65" fmla="*/ 7970 h 10000"/>
              <a:gd name="connsiteX66" fmla="*/ 9011 w 10000"/>
              <a:gd name="connsiteY66" fmla="*/ 7983 h 10000"/>
              <a:gd name="connsiteX67" fmla="*/ 9017 w 10000"/>
              <a:gd name="connsiteY67" fmla="*/ 7710 h 10000"/>
              <a:gd name="connsiteX68" fmla="*/ 9127 w 10000"/>
              <a:gd name="connsiteY68" fmla="*/ 7929 h 10000"/>
              <a:gd name="connsiteX69" fmla="*/ 9189 w 10000"/>
              <a:gd name="connsiteY69" fmla="*/ 7833 h 10000"/>
              <a:gd name="connsiteX70" fmla="*/ 9213 w 10000"/>
              <a:gd name="connsiteY70" fmla="*/ 7373 h 10000"/>
              <a:gd name="connsiteX71" fmla="*/ 9247 w 10000"/>
              <a:gd name="connsiteY71" fmla="*/ 7816 h 10000"/>
              <a:gd name="connsiteX72" fmla="*/ 9324 w 10000"/>
              <a:gd name="connsiteY72" fmla="*/ 7586 h 10000"/>
              <a:gd name="connsiteX73" fmla="*/ 9435 w 10000"/>
              <a:gd name="connsiteY73" fmla="*/ 7709 h 10000"/>
              <a:gd name="connsiteX74" fmla="*/ 9494 w 10000"/>
              <a:gd name="connsiteY74" fmla="*/ 7970 h 10000"/>
              <a:gd name="connsiteX75" fmla="*/ 9527 w 10000"/>
              <a:gd name="connsiteY75" fmla="*/ 7732 h 10000"/>
              <a:gd name="connsiteX76" fmla="*/ 9585 w 10000"/>
              <a:gd name="connsiteY76" fmla="*/ 7935 h 10000"/>
              <a:gd name="connsiteX77" fmla="*/ 9625 w 10000"/>
              <a:gd name="connsiteY77" fmla="*/ 7240 h 10000"/>
              <a:gd name="connsiteX78" fmla="*/ 9728 w 10000"/>
              <a:gd name="connsiteY78" fmla="*/ 7911 h 10000"/>
              <a:gd name="connsiteX79" fmla="*/ 9838 w 10000"/>
              <a:gd name="connsiteY79" fmla="*/ 7568 h 10000"/>
              <a:gd name="connsiteX80" fmla="*/ 9840 w 10000"/>
              <a:gd name="connsiteY80" fmla="*/ 7290 h 10000"/>
              <a:gd name="connsiteX81" fmla="*/ 9924 w 10000"/>
              <a:gd name="connsiteY81" fmla="*/ 7601 h 10000"/>
              <a:gd name="connsiteX82" fmla="*/ 10000 w 10000"/>
              <a:gd name="connsiteY82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5071 w 10000"/>
              <a:gd name="connsiteY48" fmla="*/ 739 h 10000"/>
              <a:gd name="connsiteX49" fmla="*/ 5369 w 10000"/>
              <a:gd name="connsiteY49" fmla="*/ 768 h 10000"/>
              <a:gd name="connsiteX50" fmla="*/ 5368 w 10000"/>
              <a:gd name="connsiteY50" fmla="*/ 747 h 10000"/>
              <a:gd name="connsiteX51" fmla="*/ 5871 w 10000"/>
              <a:gd name="connsiteY51" fmla="*/ 1290 h 10000"/>
              <a:gd name="connsiteX52" fmla="*/ 6035 w 10000"/>
              <a:gd name="connsiteY52" fmla="*/ 0 h 10000"/>
              <a:gd name="connsiteX53" fmla="*/ 6568 w 10000"/>
              <a:gd name="connsiteY53" fmla="*/ 111 h 10000"/>
              <a:gd name="connsiteX54" fmla="*/ 6873 w 10000"/>
              <a:gd name="connsiteY54" fmla="*/ 42 h 10000"/>
              <a:gd name="connsiteX55" fmla="*/ 7066 w 10000"/>
              <a:gd name="connsiteY55" fmla="*/ 362 h 10000"/>
              <a:gd name="connsiteX56" fmla="*/ 7376 w 10000"/>
              <a:gd name="connsiteY56" fmla="*/ 6050 h 10000"/>
              <a:gd name="connsiteX57" fmla="*/ 8212 w 10000"/>
              <a:gd name="connsiteY57" fmla="*/ 6037 h 10000"/>
              <a:gd name="connsiteX58" fmla="*/ 8406 w 10000"/>
              <a:gd name="connsiteY58" fmla="*/ 4934 h 10000"/>
              <a:gd name="connsiteX59" fmla="*/ 8534 w 10000"/>
              <a:gd name="connsiteY59" fmla="*/ 5543 h 10000"/>
              <a:gd name="connsiteX60" fmla="*/ 8617 w 10000"/>
              <a:gd name="connsiteY60" fmla="*/ 4997 h 10000"/>
              <a:gd name="connsiteX61" fmla="*/ 8681 w 10000"/>
              <a:gd name="connsiteY61" fmla="*/ 7677 h 10000"/>
              <a:gd name="connsiteX62" fmla="*/ 8746 w 10000"/>
              <a:gd name="connsiteY62" fmla="*/ 6591 h 10000"/>
              <a:gd name="connsiteX63" fmla="*/ 8839 w 10000"/>
              <a:gd name="connsiteY63" fmla="*/ 7814 h 10000"/>
              <a:gd name="connsiteX64" fmla="*/ 8891 w 10000"/>
              <a:gd name="connsiteY64" fmla="*/ 7594 h 10000"/>
              <a:gd name="connsiteX65" fmla="*/ 8917 w 10000"/>
              <a:gd name="connsiteY65" fmla="*/ 7970 h 10000"/>
              <a:gd name="connsiteX66" fmla="*/ 9011 w 10000"/>
              <a:gd name="connsiteY66" fmla="*/ 7983 h 10000"/>
              <a:gd name="connsiteX67" fmla="*/ 9017 w 10000"/>
              <a:gd name="connsiteY67" fmla="*/ 7710 h 10000"/>
              <a:gd name="connsiteX68" fmla="*/ 9127 w 10000"/>
              <a:gd name="connsiteY68" fmla="*/ 7929 h 10000"/>
              <a:gd name="connsiteX69" fmla="*/ 9189 w 10000"/>
              <a:gd name="connsiteY69" fmla="*/ 7833 h 10000"/>
              <a:gd name="connsiteX70" fmla="*/ 9213 w 10000"/>
              <a:gd name="connsiteY70" fmla="*/ 7373 h 10000"/>
              <a:gd name="connsiteX71" fmla="*/ 9247 w 10000"/>
              <a:gd name="connsiteY71" fmla="*/ 7816 h 10000"/>
              <a:gd name="connsiteX72" fmla="*/ 9324 w 10000"/>
              <a:gd name="connsiteY72" fmla="*/ 7586 h 10000"/>
              <a:gd name="connsiteX73" fmla="*/ 9435 w 10000"/>
              <a:gd name="connsiteY73" fmla="*/ 7709 h 10000"/>
              <a:gd name="connsiteX74" fmla="*/ 9494 w 10000"/>
              <a:gd name="connsiteY74" fmla="*/ 7970 h 10000"/>
              <a:gd name="connsiteX75" fmla="*/ 9527 w 10000"/>
              <a:gd name="connsiteY75" fmla="*/ 7732 h 10000"/>
              <a:gd name="connsiteX76" fmla="*/ 9585 w 10000"/>
              <a:gd name="connsiteY76" fmla="*/ 7935 h 10000"/>
              <a:gd name="connsiteX77" fmla="*/ 9625 w 10000"/>
              <a:gd name="connsiteY77" fmla="*/ 7240 h 10000"/>
              <a:gd name="connsiteX78" fmla="*/ 9728 w 10000"/>
              <a:gd name="connsiteY78" fmla="*/ 7911 h 10000"/>
              <a:gd name="connsiteX79" fmla="*/ 9838 w 10000"/>
              <a:gd name="connsiteY79" fmla="*/ 7568 h 10000"/>
              <a:gd name="connsiteX80" fmla="*/ 9840 w 10000"/>
              <a:gd name="connsiteY80" fmla="*/ 7290 h 10000"/>
              <a:gd name="connsiteX81" fmla="*/ 9924 w 10000"/>
              <a:gd name="connsiteY81" fmla="*/ 7601 h 10000"/>
              <a:gd name="connsiteX82" fmla="*/ 10000 w 10000"/>
              <a:gd name="connsiteY82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5071 w 10000"/>
              <a:gd name="connsiteY48" fmla="*/ 739 h 10000"/>
              <a:gd name="connsiteX49" fmla="*/ 5369 w 10000"/>
              <a:gd name="connsiteY49" fmla="*/ 768 h 10000"/>
              <a:gd name="connsiteX50" fmla="*/ 5368 w 10000"/>
              <a:gd name="connsiteY50" fmla="*/ 747 h 10000"/>
              <a:gd name="connsiteX51" fmla="*/ 5871 w 10000"/>
              <a:gd name="connsiteY51" fmla="*/ 1290 h 10000"/>
              <a:gd name="connsiteX52" fmla="*/ 6035 w 10000"/>
              <a:gd name="connsiteY52" fmla="*/ 0 h 10000"/>
              <a:gd name="connsiteX53" fmla="*/ 6568 w 10000"/>
              <a:gd name="connsiteY53" fmla="*/ 111 h 10000"/>
              <a:gd name="connsiteX54" fmla="*/ 6873 w 10000"/>
              <a:gd name="connsiteY54" fmla="*/ 42 h 10000"/>
              <a:gd name="connsiteX55" fmla="*/ 7066 w 10000"/>
              <a:gd name="connsiteY55" fmla="*/ 362 h 10000"/>
              <a:gd name="connsiteX56" fmla="*/ 7376 w 10000"/>
              <a:gd name="connsiteY56" fmla="*/ 6050 h 10000"/>
              <a:gd name="connsiteX57" fmla="*/ 8212 w 10000"/>
              <a:gd name="connsiteY57" fmla="*/ 6037 h 10000"/>
              <a:gd name="connsiteX58" fmla="*/ 8406 w 10000"/>
              <a:gd name="connsiteY58" fmla="*/ 4934 h 10000"/>
              <a:gd name="connsiteX59" fmla="*/ 8534 w 10000"/>
              <a:gd name="connsiteY59" fmla="*/ 5543 h 10000"/>
              <a:gd name="connsiteX60" fmla="*/ 8617 w 10000"/>
              <a:gd name="connsiteY60" fmla="*/ 4997 h 10000"/>
              <a:gd name="connsiteX61" fmla="*/ 8681 w 10000"/>
              <a:gd name="connsiteY61" fmla="*/ 7677 h 10000"/>
              <a:gd name="connsiteX62" fmla="*/ 8746 w 10000"/>
              <a:gd name="connsiteY62" fmla="*/ 6591 h 10000"/>
              <a:gd name="connsiteX63" fmla="*/ 8839 w 10000"/>
              <a:gd name="connsiteY63" fmla="*/ 7814 h 10000"/>
              <a:gd name="connsiteX64" fmla="*/ 8891 w 10000"/>
              <a:gd name="connsiteY64" fmla="*/ 7594 h 10000"/>
              <a:gd name="connsiteX65" fmla="*/ 8917 w 10000"/>
              <a:gd name="connsiteY65" fmla="*/ 7970 h 10000"/>
              <a:gd name="connsiteX66" fmla="*/ 9011 w 10000"/>
              <a:gd name="connsiteY66" fmla="*/ 7983 h 10000"/>
              <a:gd name="connsiteX67" fmla="*/ 9017 w 10000"/>
              <a:gd name="connsiteY67" fmla="*/ 7710 h 10000"/>
              <a:gd name="connsiteX68" fmla="*/ 9127 w 10000"/>
              <a:gd name="connsiteY68" fmla="*/ 7929 h 10000"/>
              <a:gd name="connsiteX69" fmla="*/ 9189 w 10000"/>
              <a:gd name="connsiteY69" fmla="*/ 7833 h 10000"/>
              <a:gd name="connsiteX70" fmla="*/ 9213 w 10000"/>
              <a:gd name="connsiteY70" fmla="*/ 7373 h 10000"/>
              <a:gd name="connsiteX71" fmla="*/ 9247 w 10000"/>
              <a:gd name="connsiteY71" fmla="*/ 7816 h 10000"/>
              <a:gd name="connsiteX72" fmla="*/ 9324 w 10000"/>
              <a:gd name="connsiteY72" fmla="*/ 7586 h 10000"/>
              <a:gd name="connsiteX73" fmla="*/ 9435 w 10000"/>
              <a:gd name="connsiteY73" fmla="*/ 7709 h 10000"/>
              <a:gd name="connsiteX74" fmla="*/ 9494 w 10000"/>
              <a:gd name="connsiteY74" fmla="*/ 7970 h 10000"/>
              <a:gd name="connsiteX75" fmla="*/ 9527 w 10000"/>
              <a:gd name="connsiteY75" fmla="*/ 7732 h 10000"/>
              <a:gd name="connsiteX76" fmla="*/ 9585 w 10000"/>
              <a:gd name="connsiteY76" fmla="*/ 7935 h 10000"/>
              <a:gd name="connsiteX77" fmla="*/ 9625 w 10000"/>
              <a:gd name="connsiteY77" fmla="*/ 7240 h 10000"/>
              <a:gd name="connsiteX78" fmla="*/ 9728 w 10000"/>
              <a:gd name="connsiteY78" fmla="*/ 7911 h 10000"/>
              <a:gd name="connsiteX79" fmla="*/ 9838 w 10000"/>
              <a:gd name="connsiteY79" fmla="*/ 7568 h 10000"/>
              <a:gd name="connsiteX80" fmla="*/ 9840 w 10000"/>
              <a:gd name="connsiteY80" fmla="*/ 7290 h 10000"/>
              <a:gd name="connsiteX81" fmla="*/ 9924 w 10000"/>
              <a:gd name="connsiteY81" fmla="*/ 7601 h 10000"/>
              <a:gd name="connsiteX82" fmla="*/ 10000 w 10000"/>
              <a:gd name="connsiteY82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852 w 10000"/>
              <a:gd name="connsiteY48" fmla="*/ 739 h 10000"/>
              <a:gd name="connsiteX49" fmla="*/ 5369 w 10000"/>
              <a:gd name="connsiteY49" fmla="*/ 768 h 10000"/>
              <a:gd name="connsiteX50" fmla="*/ 5368 w 10000"/>
              <a:gd name="connsiteY50" fmla="*/ 747 h 10000"/>
              <a:gd name="connsiteX51" fmla="*/ 5871 w 10000"/>
              <a:gd name="connsiteY51" fmla="*/ 1290 h 10000"/>
              <a:gd name="connsiteX52" fmla="*/ 6035 w 10000"/>
              <a:gd name="connsiteY52" fmla="*/ 0 h 10000"/>
              <a:gd name="connsiteX53" fmla="*/ 6568 w 10000"/>
              <a:gd name="connsiteY53" fmla="*/ 111 h 10000"/>
              <a:gd name="connsiteX54" fmla="*/ 6873 w 10000"/>
              <a:gd name="connsiteY54" fmla="*/ 42 h 10000"/>
              <a:gd name="connsiteX55" fmla="*/ 7066 w 10000"/>
              <a:gd name="connsiteY55" fmla="*/ 362 h 10000"/>
              <a:gd name="connsiteX56" fmla="*/ 7376 w 10000"/>
              <a:gd name="connsiteY56" fmla="*/ 6050 h 10000"/>
              <a:gd name="connsiteX57" fmla="*/ 8212 w 10000"/>
              <a:gd name="connsiteY57" fmla="*/ 6037 h 10000"/>
              <a:gd name="connsiteX58" fmla="*/ 8406 w 10000"/>
              <a:gd name="connsiteY58" fmla="*/ 4934 h 10000"/>
              <a:gd name="connsiteX59" fmla="*/ 8534 w 10000"/>
              <a:gd name="connsiteY59" fmla="*/ 5543 h 10000"/>
              <a:gd name="connsiteX60" fmla="*/ 8617 w 10000"/>
              <a:gd name="connsiteY60" fmla="*/ 4997 h 10000"/>
              <a:gd name="connsiteX61" fmla="*/ 8681 w 10000"/>
              <a:gd name="connsiteY61" fmla="*/ 7677 h 10000"/>
              <a:gd name="connsiteX62" fmla="*/ 8746 w 10000"/>
              <a:gd name="connsiteY62" fmla="*/ 6591 h 10000"/>
              <a:gd name="connsiteX63" fmla="*/ 8839 w 10000"/>
              <a:gd name="connsiteY63" fmla="*/ 7814 h 10000"/>
              <a:gd name="connsiteX64" fmla="*/ 8891 w 10000"/>
              <a:gd name="connsiteY64" fmla="*/ 7594 h 10000"/>
              <a:gd name="connsiteX65" fmla="*/ 8917 w 10000"/>
              <a:gd name="connsiteY65" fmla="*/ 7970 h 10000"/>
              <a:gd name="connsiteX66" fmla="*/ 9011 w 10000"/>
              <a:gd name="connsiteY66" fmla="*/ 7983 h 10000"/>
              <a:gd name="connsiteX67" fmla="*/ 9017 w 10000"/>
              <a:gd name="connsiteY67" fmla="*/ 7710 h 10000"/>
              <a:gd name="connsiteX68" fmla="*/ 9127 w 10000"/>
              <a:gd name="connsiteY68" fmla="*/ 7929 h 10000"/>
              <a:gd name="connsiteX69" fmla="*/ 9189 w 10000"/>
              <a:gd name="connsiteY69" fmla="*/ 7833 h 10000"/>
              <a:gd name="connsiteX70" fmla="*/ 9213 w 10000"/>
              <a:gd name="connsiteY70" fmla="*/ 7373 h 10000"/>
              <a:gd name="connsiteX71" fmla="*/ 9247 w 10000"/>
              <a:gd name="connsiteY71" fmla="*/ 7816 h 10000"/>
              <a:gd name="connsiteX72" fmla="*/ 9324 w 10000"/>
              <a:gd name="connsiteY72" fmla="*/ 7586 h 10000"/>
              <a:gd name="connsiteX73" fmla="*/ 9435 w 10000"/>
              <a:gd name="connsiteY73" fmla="*/ 7709 h 10000"/>
              <a:gd name="connsiteX74" fmla="*/ 9494 w 10000"/>
              <a:gd name="connsiteY74" fmla="*/ 7970 h 10000"/>
              <a:gd name="connsiteX75" fmla="*/ 9527 w 10000"/>
              <a:gd name="connsiteY75" fmla="*/ 7732 h 10000"/>
              <a:gd name="connsiteX76" fmla="*/ 9585 w 10000"/>
              <a:gd name="connsiteY76" fmla="*/ 7935 h 10000"/>
              <a:gd name="connsiteX77" fmla="*/ 9625 w 10000"/>
              <a:gd name="connsiteY77" fmla="*/ 7240 h 10000"/>
              <a:gd name="connsiteX78" fmla="*/ 9728 w 10000"/>
              <a:gd name="connsiteY78" fmla="*/ 7911 h 10000"/>
              <a:gd name="connsiteX79" fmla="*/ 9838 w 10000"/>
              <a:gd name="connsiteY79" fmla="*/ 7568 h 10000"/>
              <a:gd name="connsiteX80" fmla="*/ 9840 w 10000"/>
              <a:gd name="connsiteY80" fmla="*/ 7290 h 10000"/>
              <a:gd name="connsiteX81" fmla="*/ 9924 w 10000"/>
              <a:gd name="connsiteY81" fmla="*/ 7601 h 10000"/>
              <a:gd name="connsiteX82" fmla="*/ 10000 w 10000"/>
              <a:gd name="connsiteY82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68 w 10000"/>
              <a:gd name="connsiteY48" fmla="*/ 1860 h 10000"/>
              <a:gd name="connsiteX49" fmla="*/ 5369 w 10000"/>
              <a:gd name="connsiteY49" fmla="*/ 768 h 10000"/>
              <a:gd name="connsiteX50" fmla="*/ 5368 w 10000"/>
              <a:gd name="connsiteY50" fmla="*/ 747 h 10000"/>
              <a:gd name="connsiteX51" fmla="*/ 5871 w 10000"/>
              <a:gd name="connsiteY51" fmla="*/ 1290 h 10000"/>
              <a:gd name="connsiteX52" fmla="*/ 6035 w 10000"/>
              <a:gd name="connsiteY52" fmla="*/ 0 h 10000"/>
              <a:gd name="connsiteX53" fmla="*/ 6568 w 10000"/>
              <a:gd name="connsiteY53" fmla="*/ 111 h 10000"/>
              <a:gd name="connsiteX54" fmla="*/ 6873 w 10000"/>
              <a:gd name="connsiteY54" fmla="*/ 42 h 10000"/>
              <a:gd name="connsiteX55" fmla="*/ 7066 w 10000"/>
              <a:gd name="connsiteY55" fmla="*/ 362 h 10000"/>
              <a:gd name="connsiteX56" fmla="*/ 7376 w 10000"/>
              <a:gd name="connsiteY56" fmla="*/ 6050 h 10000"/>
              <a:gd name="connsiteX57" fmla="*/ 8212 w 10000"/>
              <a:gd name="connsiteY57" fmla="*/ 6037 h 10000"/>
              <a:gd name="connsiteX58" fmla="*/ 8406 w 10000"/>
              <a:gd name="connsiteY58" fmla="*/ 4934 h 10000"/>
              <a:gd name="connsiteX59" fmla="*/ 8534 w 10000"/>
              <a:gd name="connsiteY59" fmla="*/ 5543 h 10000"/>
              <a:gd name="connsiteX60" fmla="*/ 8617 w 10000"/>
              <a:gd name="connsiteY60" fmla="*/ 4997 h 10000"/>
              <a:gd name="connsiteX61" fmla="*/ 8681 w 10000"/>
              <a:gd name="connsiteY61" fmla="*/ 7677 h 10000"/>
              <a:gd name="connsiteX62" fmla="*/ 8746 w 10000"/>
              <a:gd name="connsiteY62" fmla="*/ 6591 h 10000"/>
              <a:gd name="connsiteX63" fmla="*/ 8839 w 10000"/>
              <a:gd name="connsiteY63" fmla="*/ 7814 h 10000"/>
              <a:gd name="connsiteX64" fmla="*/ 8891 w 10000"/>
              <a:gd name="connsiteY64" fmla="*/ 7594 h 10000"/>
              <a:gd name="connsiteX65" fmla="*/ 8917 w 10000"/>
              <a:gd name="connsiteY65" fmla="*/ 7970 h 10000"/>
              <a:gd name="connsiteX66" fmla="*/ 9011 w 10000"/>
              <a:gd name="connsiteY66" fmla="*/ 7983 h 10000"/>
              <a:gd name="connsiteX67" fmla="*/ 9017 w 10000"/>
              <a:gd name="connsiteY67" fmla="*/ 7710 h 10000"/>
              <a:gd name="connsiteX68" fmla="*/ 9127 w 10000"/>
              <a:gd name="connsiteY68" fmla="*/ 7929 h 10000"/>
              <a:gd name="connsiteX69" fmla="*/ 9189 w 10000"/>
              <a:gd name="connsiteY69" fmla="*/ 7833 h 10000"/>
              <a:gd name="connsiteX70" fmla="*/ 9213 w 10000"/>
              <a:gd name="connsiteY70" fmla="*/ 7373 h 10000"/>
              <a:gd name="connsiteX71" fmla="*/ 9247 w 10000"/>
              <a:gd name="connsiteY71" fmla="*/ 7816 h 10000"/>
              <a:gd name="connsiteX72" fmla="*/ 9324 w 10000"/>
              <a:gd name="connsiteY72" fmla="*/ 7586 h 10000"/>
              <a:gd name="connsiteX73" fmla="*/ 9435 w 10000"/>
              <a:gd name="connsiteY73" fmla="*/ 7709 h 10000"/>
              <a:gd name="connsiteX74" fmla="*/ 9494 w 10000"/>
              <a:gd name="connsiteY74" fmla="*/ 7970 h 10000"/>
              <a:gd name="connsiteX75" fmla="*/ 9527 w 10000"/>
              <a:gd name="connsiteY75" fmla="*/ 7732 h 10000"/>
              <a:gd name="connsiteX76" fmla="*/ 9585 w 10000"/>
              <a:gd name="connsiteY76" fmla="*/ 7935 h 10000"/>
              <a:gd name="connsiteX77" fmla="*/ 9625 w 10000"/>
              <a:gd name="connsiteY77" fmla="*/ 7240 h 10000"/>
              <a:gd name="connsiteX78" fmla="*/ 9728 w 10000"/>
              <a:gd name="connsiteY78" fmla="*/ 7911 h 10000"/>
              <a:gd name="connsiteX79" fmla="*/ 9838 w 10000"/>
              <a:gd name="connsiteY79" fmla="*/ 7568 h 10000"/>
              <a:gd name="connsiteX80" fmla="*/ 9840 w 10000"/>
              <a:gd name="connsiteY80" fmla="*/ 7290 h 10000"/>
              <a:gd name="connsiteX81" fmla="*/ 9924 w 10000"/>
              <a:gd name="connsiteY81" fmla="*/ 7601 h 10000"/>
              <a:gd name="connsiteX82" fmla="*/ 10000 w 10000"/>
              <a:gd name="connsiteY82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68 w 10000"/>
              <a:gd name="connsiteY48" fmla="*/ 1860 h 10000"/>
              <a:gd name="connsiteX49" fmla="*/ 4850 w 10000"/>
              <a:gd name="connsiteY49" fmla="*/ 1654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68 w 10000"/>
              <a:gd name="connsiteY48" fmla="*/ 1860 h 10000"/>
              <a:gd name="connsiteX49" fmla="*/ 4917 w 10000"/>
              <a:gd name="connsiteY49" fmla="*/ 757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68 w 10000"/>
              <a:gd name="connsiteY48" fmla="*/ 1860 h 10000"/>
              <a:gd name="connsiteX49" fmla="*/ 4917 w 10000"/>
              <a:gd name="connsiteY49" fmla="*/ 757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17 w 10000"/>
              <a:gd name="connsiteY48" fmla="*/ 1888 h 10000"/>
              <a:gd name="connsiteX49" fmla="*/ 4917 w 10000"/>
              <a:gd name="connsiteY49" fmla="*/ 757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17 w 10000"/>
              <a:gd name="connsiteY48" fmla="*/ 1888 h 10000"/>
              <a:gd name="connsiteX49" fmla="*/ 4917 w 10000"/>
              <a:gd name="connsiteY49" fmla="*/ 757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09 w 10000"/>
              <a:gd name="connsiteY48" fmla="*/ 2084 h 10000"/>
              <a:gd name="connsiteX49" fmla="*/ 4917 w 10000"/>
              <a:gd name="connsiteY49" fmla="*/ 757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09 w 10000"/>
              <a:gd name="connsiteY48" fmla="*/ 1944 h 10000"/>
              <a:gd name="connsiteX49" fmla="*/ 4917 w 10000"/>
              <a:gd name="connsiteY49" fmla="*/ 757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917 w 10000"/>
              <a:gd name="connsiteY49" fmla="*/ 757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315 w 10000"/>
              <a:gd name="connsiteY46" fmla="*/ 6740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76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207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6035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207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207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207 w 10000"/>
              <a:gd name="connsiteY57" fmla="*/ 6050 h 10000"/>
              <a:gd name="connsiteX58" fmla="*/ 8212 w 10000"/>
              <a:gd name="connsiteY58" fmla="*/ 603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207 w 10000"/>
              <a:gd name="connsiteY57" fmla="*/ 6050 h 10000"/>
              <a:gd name="connsiteX58" fmla="*/ 8052 w 10000"/>
              <a:gd name="connsiteY58" fmla="*/ 8644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477 w 10000"/>
              <a:gd name="connsiteY57" fmla="*/ 8601 h 10000"/>
              <a:gd name="connsiteX58" fmla="*/ 8052 w 10000"/>
              <a:gd name="connsiteY58" fmla="*/ 8644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08 w 10000"/>
              <a:gd name="connsiteY57" fmla="*/ 8685 h 10000"/>
              <a:gd name="connsiteX58" fmla="*/ 8052 w 10000"/>
              <a:gd name="connsiteY58" fmla="*/ 8644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2 w 10000"/>
              <a:gd name="connsiteY58" fmla="*/ 8644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17 w 10000"/>
              <a:gd name="connsiteY57" fmla="*/ 8685 h 10000"/>
              <a:gd name="connsiteX58" fmla="*/ 8052 w 10000"/>
              <a:gd name="connsiteY58" fmla="*/ 8644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17 w 10000"/>
              <a:gd name="connsiteY57" fmla="*/ 8685 h 10000"/>
              <a:gd name="connsiteX58" fmla="*/ 8052 w 10000"/>
              <a:gd name="connsiteY58" fmla="*/ 8644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42 w 10000"/>
              <a:gd name="connsiteY57" fmla="*/ 8629 h 10000"/>
              <a:gd name="connsiteX58" fmla="*/ 8052 w 10000"/>
              <a:gd name="connsiteY58" fmla="*/ 8644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85 h 10000"/>
              <a:gd name="connsiteX58" fmla="*/ 8052 w 10000"/>
              <a:gd name="connsiteY58" fmla="*/ 8644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2 w 10000"/>
              <a:gd name="connsiteY58" fmla="*/ 8644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2 w 10000"/>
              <a:gd name="connsiteY58" fmla="*/ 8644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2 w 10000"/>
              <a:gd name="connsiteY58" fmla="*/ 8560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2 w 10000"/>
              <a:gd name="connsiteY58" fmla="*/ 8560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2 w 10000"/>
              <a:gd name="connsiteY58" fmla="*/ 8627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406 w 10000"/>
              <a:gd name="connsiteY59" fmla="*/ 4934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85 w 10000"/>
              <a:gd name="connsiteY59" fmla="*/ 4867 h 10000"/>
              <a:gd name="connsiteX60" fmla="*/ 8534 w 10000"/>
              <a:gd name="connsiteY60" fmla="*/ 5543 h 10000"/>
              <a:gd name="connsiteX61" fmla="*/ 8617 w 10000"/>
              <a:gd name="connsiteY61" fmla="*/ 4997 h 10000"/>
              <a:gd name="connsiteX62" fmla="*/ 8681 w 10000"/>
              <a:gd name="connsiteY62" fmla="*/ 7677 h 10000"/>
              <a:gd name="connsiteX63" fmla="*/ 8746 w 10000"/>
              <a:gd name="connsiteY63" fmla="*/ 6591 h 10000"/>
              <a:gd name="connsiteX64" fmla="*/ 8839 w 10000"/>
              <a:gd name="connsiteY64" fmla="*/ 7814 h 10000"/>
              <a:gd name="connsiteX65" fmla="*/ 8891 w 10000"/>
              <a:gd name="connsiteY65" fmla="*/ 7594 h 10000"/>
              <a:gd name="connsiteX66" fmla="*/ 8917 w 10000"/>
              <a:gd name="connsiteY66" fmla="*/ 7970 h 10000"/>
              <a:gd name="connsiteX67" fmla="*/ 9011 w 10000"/>
              <a:gd name="connsiteY67" fmla="*/ 7983 h 10000"/>
              <a:gd name="connsiteX68" fmla="*/ 9017 w 10000"/>
              <a:gd name="connsiteY68" fmla="*/ 7710 h 10000"/>
              <a:gd name="connsiteX69" fmla="*/ 9127 w 10000"/>
              <a:gd name="connsiteY69" fmla="*/ 7929 h 10000"/>
              <a:gd name="connsiteX70" fmla="*/ 9189 w 10000"/>
              <a:gd name="connsiteY70" fmla="*/ 7833 h 10000"/>
              <a:gd name="connsiteX71" fmla="*/ 9213 w 10000"/>
              <a:gd name="connsiteY71" fmla="*/ 7373 h 10000"/>
              <a:gd name="connsiteX72" fmla="*/ 9247 w 10000"/>
              <a:gd name="connsiteY72" fmla="*/ 7816 h 10000"/>
              <a:gd name="connsiteX73" fmla="*/ 9324 w 10000"/>
              <a:gd name="connsiteY73" fmla="*/ 7586 h 10000"/>
              <a:gd name="connsiteX74" fmla="*/ 9435 w 10000"/>
              <a:gd name="connsiteY74" fmla="*/ 7709 h 10000"/>
              <a:gd name="connsiteX75" fmla="*/ 9494 w 10000"/>
              <a:gd name="connsiteY75" fmla="*/ 7970 h 10000"/>
              <a:gd name="connsiteX76" fmla="*/ 9527 w 10000"/>
              <a:gd name="connsiteY76" fmla="*/ 7732 h 10000"/>
              <a:gd name="connsiteX77" fmla="*/ 9585 w 10000"/>
              <a:gd name="connsiteY77" fmla="*/ 7935 h 10000"/>
              <a:gd name="connsiteX78" fmla="*/ 9625 w 10000"/>
              <a:gd name="connsiteY78" fmla="*/ 7240 h 10000"/>
              <a:gd name="connsiteX79" fmla="*/ 9728 w 10000"/>
              <a:gd name="connsiteY79" fmla="*/ 7911 h 10000"/>
              <a:gd name="connsiteX80" fmla="*/ 9838 w 10000"/>
              <a:gd name="connsiteY80" fmla="*/ 7568 h 10000"/>
              <a:gd name="connsiteX81" fmla="*/ 9840 w 10000"/>
              <a:gd name="connsiteY81" fmla="*/ 7290 h 10000"/>
              <a:gd name="connsiteX82" fmla="*/ 9924 w 10000"/>
              <a:gd name="connsiteY82" fmla="*/ 7601 h 10000"/>
              <a:gd name="connsiteX83" fmla="*/ 10000 w 10000"/>
              <a:gd name="connsiteY83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285 w 10000"/>
              <a:gd name="connsiteY60" fmla="*/ 4867 h 10000"/>
              <a:gd name="connsiteX61" fmla="*/ 8534 w 10000"/>
              <a:gd name="connsiteY61" fmla="*/ 5543 h 10000"/>
              <a:gd name="connsiteX62" fmla="*/ 8617 w 10000"/>
              <a:gd name="connsiteY62" fmla="*/ 4997 h 10000"/>
              <a:gd name="connsiteX63" fmla="*/ 8681 w 10000"/>
              <a:gd name="connsiteY63" fmla="*/ 7677 h 10000"/>
              <a:gd name="connsiteX64" fmla="*/ 8746 w 10000"/>
              <a:gd name="connsiteY64" fmla="*/ 6591 h 10000"/>
              <a:gd name="connsiteX65" fmla="*/ 8839 w 10000"/>
              <a:gd name="connsiteY65" fmla="*/ 7814 h 10000"/>
              <a:gd name="connsiteX66" fmla="*/ 8891 w 10000"/>
              <a:gd name="connsiteY66" fmla="*/ 7594 h 10000"/>
              <a:gd name="connsiteX67" fmla="*/ 8917 w 10000"/>
              <a:gd name="connsiteY67" fmla="*/ 7970 h 10000"/>
              <a:gd name="connsiteX68" fmla="*/ 9011 w 10000"/>
              <a:gd name="connsiteY68" fmla="*/ 7983 h 10000"/>
              <a:gd name="connsiteX69" fmla="*/ 9017 w 10000"/>
              <a:gd name="connsiteY69" fmla="*/ 7710 h 10000"/>
              <a:gd name="connsiteX70" fmla="*/ 9127 w 10000"/>
              <a:gd name="connsiteY70" fmla="*/ 7929 h 10000"/>
              <a:gd name="connsiteX71" fmla="*/ 9189 w 10000"/>
              <a:gd name="connsiteY71" fmla="*/ 7833 h 10000"/>
              <a:gd name="connsiteX72" fmla="*/ 9213 w 10000"/>
              <a:gd name="connsiteY72" fmla="*/ 7373 h 10000"/>
              <a:gd name="connsiteX73" fmla="*/ 9247 w 10000"/>
              <a:gd name="connsiteY73" fmla="*/ 7816 h 10000"/>
              <a:gd name="connsiteX74" fmla="*/ 9324 w 10000"/>
              <a:gd name="connsiteY74" fmla="*/ 7586 h 10000"/>
              <a:gd name="connsiteX75" fmla="*/ 9435 w 10000"/>
              <a:gd name="connsiteY75" fmla="*/ 7709 h 10000"/>
              <a:gd name="connsiteX76" fmla="*/ 9494 w 10000"/>
              <a:gd name="connsiteY76" fmla="*/ 7970 h 10000"/>
              <a:gd name="connsiteX77" fmla="*/ 9527 w 10000"/>
              <a:gd name="connsiteY77" fmla="*/ 7732 h 10000"/>
              <a:gd name="connsiteX78" fmla="*/ 9585 w 10000"/>
              <a:gd name="connsiteY78" fmla="*/ 7935 h 10000"/>
              <a:gd name="connsiteX79" fmla="*/ 9625 w 10000"/>
              <a:gd name="connsiteY79" fmla="*/ 7240 h 10000"/>
              <a:gd name="connsiteX80" fmla="*/ 9728 w 10000"/>
              <a:gd name="connsiteY80" fmla="*/ 7911 h 10000"/>
              <a:gd name="connsiteX81" fmla="*/ 9838 w 10000"/>
              <a:gd name="connsiteY81" fmla="*/ 7568 h 10000"/>
              <a:gd name="connsiteX82" fmla="*/ 9840 w 10000"/>
              <a:gd name="connsiteY82" fmla="*/ 7290 h 10000"/>
              <a:gd name="connsiteX83" fmla="*/ 9924 w 10000"/>
              <a:gd name="connsiteY83" fmla="*/ 7601 h 10000"/>
              <a:gd name="connsiteX84" fmla="*/ 10000 w 10000"/>
              <a:gd name="connsiteY84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581 w 10000"/>
              <a:gd name="connsiteY60" fmla="*/ 4128 h 10000"/>
              <a:gd name="connsiteX61" fmla="*/ 8534 w 10000"/>
              <a:gd name="connsiteY61" fmla="*/ 5543 h 10000"/>
              <a:gd name="connsiteX62" fmla="*/ 8617 w 10000"/>
              <a:gd name="connsiteY62" fmla="*/ 4997 h 10000"/>
              <a:gd name="connsiteX63" fmla="*/ 8681 w 10000"/>
              <a:gd name="connsiteY63" fmla="*/ 7677 h 10000"/>
              <a:gd name="connsiteX64" fmla="*/ 8746 w 10000"/>
              <a:gd name="connsiteY64" fmla="*/ 6591 h 10000"/>
              <a:gd name="connsiteX65" fmla="*/ 8839 w 10000"/>
              <a:gd name="connsiteY65" fmla="*/ 7814 h 10000"/>
              <a:gd name="connsiteX66" fmla="*/ 8891 w 10000"/>
              <a:gd name="connsiteY66" fmla="*/ 7594 h 10000"/>
              <a:gd name="connsiteX67" fmla="*/ 8917 w 10000"/>
              <a:gd name="connsiteY67" fmla="*/ 7970 h 10000"/>
              <a:gd name="connsiteX68" fmla="*/ 9011 w 10000"/>
              <a:gd name="connsiteY68" fmla="*/ 7983 h 10000"/>
              <a:gd name="connsiteX69" fmla="*/ 9017 w 10000"/>
              <a:gd name="connsiteY69" fmla="*/ 7710 h 10000"/>
              <a:gd name="connsiteX70" fmla="*/ 9127 w 10000"/>
              <a:gd name="connsiteY70" fmla="*/ 7929 h 10000"/>
              <a:gd name="connsiteX71" fmla="*/ 9189 w 10000"/>
              <a:gd name="connsiteY71" fmla="*/ 7833 h 10000"/>
              <a:gd name="connsiteX72" fmla="*/ 9213 w 10000"/>
              <a:gd name="connsiteY72" fmla="*/ 7373 h 10000"/>
              <a:gd name="connsiteX73" fmla="*/ 9247 w 10000"/>
              <a:gd name="connsiteY73" fmla="*/ 7816 h 10000"/>
              <a:gd name="connsiteX74" fmla="*/ 9324 w 10000"/>
              <a:gd name="connsiteY74" fmla="*/ 7586 h 10000"/>
              <a:gd name="connsiteX75" fmla="*/ 9435 w 10000"/>
              <a:gd name="connsiteY75" fmla="*/ 7709 h 10000"/>
              <a:gd name="connsiteX76" fmla="*/ 9494 w 10000"/>
              <a:gd name="connsiteY76" fmla="*/ 7970 h 10000"/>
              <a:gd name="connsiteX77" fmla="*/ 9527 w 10000"/>
              <a:gd name="connsiteY77" fmla="*/ 7732 h 10000"/>
              <a:gd name="connsiteX78" fmla="*/ 9585 w 10000"/>
              <a:gd name="connsiteY78" fmla="*/ 7935 h 10000"/>
              <a:gd name="connsiteX79" fmla="*/ 9625 w 10000"/>
              <a:gd name="connsiteY79" fmla="*/ 7240 h 10000"/>
              <a:gd name="connsiteX80" fmla="*/ 9728 w 10000"/>
              <a:gd name="connsiteY80" fmla="*/ 7911 h 10000"/>
              <a:gd name="connsiteX81" fmla="*/ 9838 w 10000"/>
              <a:gd name="connsiteY81" fmla="*/ 7568 h 10000"/>
              <a:gd name="connsiteX82" fmla="*/ 9840 w 10000"/>
              <a:gd name="connsiteY82" fmla="*/ 7290 h 10000"/>
              <a:gd name="connsiteX83" fmla="*/ 9924 w 10000"/>
              <a:gd name="connsiteY83" fmla="*/ 7601 h 10000"/>
              <a:gd name="connsiteX84" fmla="*/ 10000 w 10000"/>
              <a:gd name="connsiteY84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05 w 10000"/>
              <a:gd name="connsiteY60" fmla="*/ 5427 h 10000"/>
              <a:gd name="connsiteX61" fmla="*/ 8534 w 10000"/>
              <a:gd name="connsiteY61" fmla="*/ 5543 h 10000"/>
              <a:gd name="connsiteX62" fmla="*/ 8617 w 10000"/>
              <a:gd name="connsiteY62" fmla="*/ 4997 h 10000"/>
              <a:gd name="connsiteX63" fmla="*/ 8681 w 10000"/>
              <a:gd name="connsiteY63" fmla="*/ 7677 h 10000"/>
              <a:gd name="connsiteX64" fmla="*/ 8746 w 10000"/>
              <a:gd name="connsiteY64" fmla="*/ 6591 h 10000"/>
              <a:gd name="connsiteX65" fmla="*/ 8839 w 10000"/>
              <a:gd name="connsiteY65" fmla="*/ 7814 h 10000"/>
              <a:gd name="connsiteX66" fmla="*/ 8891 w 10000"/>
              <a:gd name="connsiteY66" fmla="*/ 7594 h 10000"/>
              <a:gd name="connsiteX67" fmla="*/ 8917 w 10000"/>
              <a:gd name="connsiteY67" fmla="*/ 7970 h 10000"/>
              <a:gd name="connsiteX68" fmla="*/ 9011 w 10000"/>
              <a:gd name="connsiteY68" fmla="*/ 7983 h 10000"/>
              <a:gd name="connsiteX69" fmla="*/ 9017 w 10000"/>
              <a:gd name="connsiteY69" fmla="*/ 7710 h 10000"/>
              <a:gd name="connsiteX70" fmla="*/ 9127 w 10000"/>
              <a:gd name="connsiteY70" fmla="*/ 7929 h 10000"/>
              <a:gd name="connsiteX71" fmla="*/ 9189 w 10000"/>
              <a:gd name="connsiteY71" fmla="*/ 7833 h 10000"/>
              <a:gd name="connsiteX72" fmla="*/ 9213 w 10000"/>
              <a:gd name="connsiteY72" fmla="*/ 7373 h 10000"/>
              <a:gd name="connsiteX73" fmla="*/ 9247 w 10000"/>
              <a:gd name="connsiteY73" fmla="*/ 7816 h 10000"/>
              <a:gd name="connsiteX74" fmla="*/ 9324 w 10000"/>
              <a:gd name="connsiteY74" fmla="*/ 7586 h 10000"/>
              <a:gd name="connsiteX75" fmla="*/ 9435 w 10000"/>
              <a:gd name="connsiteY75" fmla="*/ 7709 h 10000"/>
              <a:gd name="connsiteX76" fmla="*/ 9494 w 10000"/>
              <a:gd name="connsiteY76" fmla="*/ 7970 h 10000"/>
              <a:gd name="connsiteX77" fmla="*/ 9527 w 10000"/>
              <a:gd name="connsiteY77" fmla="*/ 7732 h 10000"/>
              <a:gd name="connsiteX78" fmla="*/ 9585 w 10000"/>
              <a:gd name="connsiteY78" fmla="*/ 7935 h 10000"/>
              <a:gd name="connsiteX79" fmla="*/ 9625 w 10000"/>
              <a:gd name="connsiteY79" fmla="*/ 7240 h 10000"/>
              <a:gd name="connsiteX80" fmla="*/ 9728 w 10000"/>
              <a:gd name="connsiteY80" fmla="*/ 7911 h 10000"/>
              <a:gd name="connsiteX81" fmla="*/ 9838 w 10000"/>
              <a:gd name="connsiteY81" fmla="*/ 7568 h 10000"/>
              <a:gd name="connsiteX82" fmla="*/ 9840 w 10000"/>
              <a:gd name="connsiteY82" fmla="*/ 7290 h 10000"/>
              <a:gd name="connsiteX83" fmla="*/ 9924 w 10000"/>
              <a:gd name="connsiteY83" fmla="*/ 7601 h 10000"/>
              <a:gd name="connsiteX84" fmla="*/ 10000 w 10000"/>
              <a:gd name="connsiteY84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05 w 10000"/>
              <a:gd name="connsiteY60" fmla="*/ 5427 h 10000"/>
              <a:gd name="connsiteX61" fmla="*/ 8416 w 10000"/>
              <a:gd name="connsiteY61" fmla="*/ 5528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05 w 10000"/>
              <a:gd name="connsiteY60" fmla="*/ 5427 h 10000"/>
              <a:gd name="connsiteX61" fmla="*/ 8416 w 10000"/>
              <a:gd name="connsiteY61" fmla="*/ 5013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05 w 10000"/>
              <a:gd name="connsiteY60" fmla="*/ 5427 h 10000"/>
              <a:gd name="connsiteX61" fmla="*/ 8416 w 10000"/>
              <a:gd name="connsiteY61" fmla="*/ 5013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05 w 10000"/>
              <a:gd name="connsiteY60" fmla="*/ 5427 h 10000"/>
              <a:gd name="connsiteX61" fmla="*/ 8416 w 10000"/>
              <a:gd name="connsiteY61" fmla="*/ 5013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05 w 10000"/>
              <a:gd name="connsiteY60" fmla="*/ 5427 h 10000"/>
              <a:gd name="connsiteX61" fmla="*/ 8416 w 10000"/>
              <a:gd name="connsiteY61" fmla="*/ 5013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05 w 10000"/>
              <a:gd name="connsiteY60" fmla="*/ 5427 h 10000"/>
              <a:gd name="connsiteX61" fmla="*/ 8416 w 10000"/>
              <a:gd name="connsiteY61" fmla="*/ 5013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05 w 10000"/>
              <a:gd name="connsiteY60" fmla="*/ 5427 h 10000"/>
              <a:gd name="connsiteX61" fmla="*/ 8409 w 10000"/>
              <a:gd name="connsiteY61" fmla="*/ 4946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32 w 10000"/>
              <a:gd name="connsiteY60" fmla="*/ 5494 h 10000"/>
              <a:gd name="connsiteX61" fmla="*/ 8409 w 10000"/>
              <a:gd name="connsiteY61" fmla="*/ 4946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19 w 10000"/>
              <a:gd name="connsiteY60" fmla="*/ 5427 h 10000"/>
              <a:gd name="connsiteX61" fmla="*/ 8409 w 10000"/>
              <a:gd name="connsiteY61" fmla="*/ 4946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19 w 10000"/>
              <a:gd name="connsiteY60" fmla="*/ 5427 h 10000"/>
              <a:gd name="connsiteX61" fmla="*/ 8409 w 10000"/>
              <a:gd name="connsiteY61" fmla="*/ 4946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19 w 10000"/>
              <a:gd name="connsiteY60" fmla="*/ 5427 h 10000"/>
              <a:gd name="connsiteX61" fmla="*/ 8409 w 10000"/>
              <a:gd name="connsiteY61" fmla="*/ 4946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19 w 10000"/>
              <a:gd name="connsiteY60" fmla="*/ 5427 h 10000"/>
              <a:gd name="connsiteX61" fmla="*/ 8409 w 10000"/>
              <a:gd name="connsiteY61" fmla="*/ 4946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383 w 10000"/>
              <a:gd name="connsiteY42" fmla="*/ 2828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19 w 10000"/>
              <a:gd name="connsiteY60" fmla="*/ 5427 h 10000"/>
              <a:gd name="connsiteX61" fmla="*/ 8409 w 10000"/>
              <a:gd name="connsiteY61" fmla="*/ 4946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37 w 10000"/>
              <a:gd name="connsiteY42" fmla="*/ 5156 h 10000"/>
              <a:gd name="connsiteX43" fmla="*/ 3737 w 10000"/>
              <a:gd name="connsiteY43" fmla="*/ 2507 h 10000"/>
              <a:gd name="connsiteX44" fmla="*/ 3830 w 10000"/>
              <a:gd name="connsiteY44" fmla="*/ 1436 h 10000"/>
              <a:gd name="connsiteX45" fmla="*/ 3897 w 10000"/>
              <a:gd name="connsiteY45" fmla="*/ 1151 h 10000"/>
              <a:gd name="connsiteX46" fmla="*/ 4104 w 10000"/>
              <a:gd name="connsiteY46" fmla="*/ 6712 h 10000"/>
              <a:gd name="connsiteX47" fmla="*/ 4700 w 10000"/>
              <a:gd name="connsiteY47" fmla="*/ 6699 h 10000"/>
              <a:gd name="connsiteX48" fmla="*/ 4709 w 10000"/>
              <a:gd name="connsiteY48" fmla="*/ 2140 h 10000"/>
              <a:gd name="connsiteX49" fmla="*/ 4816 w 10000"/>
              <a:gd name="connsiteY49" fmla="*/ 785 h 10000"/>
              <a:gd name="connsiteX50" fmla="*/ 5369 w 10000"/>
              <a:gd name="connsiteY50" fmla="*/ 768 h 10000"/>
              <a:gd name="connsiteX51" fmla="*/ 5368 w 10000"/>
              <a:gd name="connsiteY51" fmla="*/ 747 h 10000"/>
              <a:gd name="connsiteX52" fmla="*/ 5871 w 10000"/>
              <a:gd name="connsiteY52" fmla="*/ 1290 h 10000"/>
              <a:gd name="connsiteX53" fmla="*/ 5900 w 10000"/>
              <a:gd name="connsiteY53" fmla="*/ 0 h 10000"/>
              <a:gd name="connsiteX54" fmla="*/ 6568 w 10000"/>
              <a:gd name="connsiteY54" fmla="*/ 111 h 10000"/>
              <a:gd name="connsiteX55" fmla="*/ 6873 w 10000"/>
              <a:gd name="connsiteY55" fmla="*/ 42 h 10000"/>
              <a:gd name="connsiteX56" fmla="*/ 7066 w 10000"/>
              <a:gd name="connsiteY56" fmla="*/ 362 h 10000"/>
              <a:gd name="connsiteX57" fmla="*/ 7325 w 10000"/>
              <a:gd name="connsiteY57" fmla="*/ 8601 h 10000"/>
              <a:gd name="connsiteX58" fmla="*/ 8059 w 10000"/>
              <a:gd name="connsiteY58" fmla="*/ 8582 h 10000"/>
              <a:gd name="connsiteX59" fmla="*/ 8254 w 10000"/>
              <a:gd name="connsiteY59" fmla="*/ 4879 h 10000"/>
              <a:gd name="connsiteX60" fmla="*/ 8319 w 10000"/>
              <a:gd name="connsiteY60" fmla="*/ 5427 h 10000"/>
              <a:gd name="connsiteX61" fmla="*/ 8409 w 10000"/>
              <a:gd name="connsiteY61" fmla="*/ 4946 h 10000"/>
              <a:gd name="connsiteX62" fmla="*/ 8534 w 10000"/>
              <a:gd name="connsiteY62" fmla="*/ 5543 h 10000"/>
              <a:gd name="connsiteX63" fmla="*/ 8617 w 10000"/>
              <a:gd name="connsiteY63" fmla="*/ 4997 h 10000"/>
              <a:gd name="connsiteX64" fmla="*/ 8681 w 10000"/>
              <a:gd name="connsiteY64" fmla="*/ 7677 h 10000"/>
              <a:gd name="connsiteX65" fmla="*/ 8746 w 10000"/>
              <a:gd name="connsiteY65" fmla="*/ 6591 h 10000"/>
              <a:gd name="connsiteX66" fmla="*/ 8839 w 10000"/>
              <a:gd name="connsiteY66" fmla="*/ 7814 h 10000"/>
              <a:gd name="connsiteX67" fmla="*/ 8891 w 10000"/>
              <a:gd name="connsiteY67" fmla="*/ 7594 h 10000"/>
              <a:gd name="connsiteX68" fmla="*/ 8917 w 10000"/>
              <a:gd name="connsiteY68" fmla="*/ 7970 h 10000"/>
              <a:gd name="connsiteX69" fmla="*/ 9011 w 10000"/>
              <a:gd name="connsiteY69" fmla="*/ 7983 h 10000"/>
              <a:gd name="connsiteX70" fmla="*/ 9017 w 10000"/>
              <a:gd name="connsiteY70" fmla="*/ 7710 h 10000"/>
              <a:gd name="connsiteX71" fmla="*/ 9127 w 10000"/>
              <a:gd name="connsiteY71" fmla="*/ 7929 h 10000"/>
              <a:gd name="connsiteX72" fmla="*/ 9189 w 10000"/>
              <a:gd name="connsiteY72" fmla="*/ 7833 h 10000"/>
              <a:gd name="connsiteX73" fmla="*/ 9213 w 10000"/>
              <a:gd name="connsiteY73" fmla="*/ 7373 h 10000"/>
              <a:gd name="connsiteX74" fmla="*/ 9247 w 10000"/>
              <a:gd name="connsiteY74" fmla="*/ 7816 h 10000"/>
              <a:gd name="connsiteX75" fmla="*/ 9324 w 10000"/>
              <a:gd name="connsiteY75" fmla="*/ 7586 h 10000"/>
              <a:gd name="connsiteX76" fmla="*/ 9435 w 10000"/>
              <a:gd name="connsiteY76" fmla="*/ 7709 h 10000"/>
              <a:gd name="connsiteX77" fmla="*/ 9494 w 10000"/>
              <a:gd name="connsiteY77" fmla="*/ 7970 h 10000"/>
              <a:gd name="connsiteX78" fmla="*/ 9527 w 10000"/>
              <a:gd name="connsiteY78" fmla="*/ 7732 h 10000"/>
              <a:gd name="connsiteX79" fmla="*/ 9585 w 10000"/>
              <a:gd name="connsiteY79" fmla="*/ 7935 h 10000"/>
              <a:gd name="connsiteX80" fmla="*/ 9625 w 10000"/>
              <a:gd name="connsiteY80" fmla="*/ 7240 h 10000"/>
              <a:gd name="connsiteX81" fmla="*/ 9728 w 10000"/>
              <a:gd name="connsiteY81" fmla="*/ 7911 h 10000"/>
              <a:gd name="connsiteX82" fmla="*/ 9838 w 10000"/>
              <a:gd name="connsiteY82" fmla="*/ 7568 h 10000"/>
              <a:gd name="connsiteX83" fmla="*/ 9840 w 10000"/>
              <a:gd name="connsiteY83" fmla="*/ 7290 h 10000"/>
              <a:gd name="connsiteX84" fmla="*/ 9924 w 10000"/>
              <a:gd name="connsiteY84" fmla="*/ 7601 h 10000"/>
              <a:gd name="connsiteX85" fmla="*/ 10000 w 10000"/>
              <a:gd name="connsiteY85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37 w 10000"/>
              <a:gd name="connsiteY42" fmla="*/ 5156 h 10000"/>
              <a:gd name="connsiteX43" fmla="*/ 3585 w 10000"/>
              <a:gd name="connsiteY43" fmla="*/ 4274 h 10000"/>
              <a:gd name="connsiteX44" fmla="*/ 3737 w 10000"/>
              <a:gd name="connsiteY44" fmla="*/ 2507 h 10000"/>
              <a:gd name="connsiteX45" fmla="*/ 3830 w 10000"/>
              <a:gd name="connsiteY45" fmla="*/ 1436 h 10000"/>
              <a:gd name="connsiteX46" fmla="*/ 3897 w 10000"/>
              <a:gd name="connsiteY46" fmla="*/ 1151 h 10000"/>
              <a:gd name="connsiteX47" fmla="*/ 4104 w 10000"/>
              <a:gd name="connsiteY47" fmla="*/ 6712 h 10000"/>
              <a:gd name="connsiteX48" fmla="*/ 4700 w 10000"/>
              <a:gd name="connsiteY48" fmla="*/ 6699 h 10000"/>
              <a:gd name="connsiteX49" fmla="*/ 4709 w 10000"/>
              <a:gd name="connsiteY49" fmla="*/ 2140 h 10000"/>
              <a:gd name="connsiteX50" fmla="*/ 4816 w 10000"/>
              <a:gd name="connsiteY50" fmla="*/ 785 h 10000"/>
              <a:gd name="connsiteX51" fmla="*/ 5369 w 10000"/>
              <a:gd name="connsiteY51" fmla="*/ 768 h 10000"/>
              <a:gd name="connsiteX52" fmla="*/ 5368 w 10000"/>
              <a:gd name="connsiteY52" fmla="*/ 747 h 10000"/>
              <a:gd name="connsiteX53" fmla="*/ 5871 w 10000"/>
              <a:gd name="connsiteY53" fmla="*/ 1290 h 10000"/>
              <a:gd name="connsiteX54" fmla="*/ 5900 w 10000"/>
              <a:gd name="connsiteY54" fmla="*/ 0 h 10000"/>
              <a:gd name="connsiteX55" fmla="*/ 6568 w 10000"/>
              <a:gd name="connsiteY55" fmla="*/ 111 h 10000"/>
              <a:gd name="connsiteX56" fmla="*/ 6873 w 10000"/>
              <a:gd name="connsiteY56" fmla="*/ 42 h 10000"/>
              <a:gd name="connsiteX57" fmla="*/ 7066 w 10000"/>
              <a:gd name="connsiteY57" fmla="*/ 362 h 10000"/>
              <a:gd name="connsiteX58" fmla="*/ 7325 w 10000"/>
              <a:gd name="connsiteY58" fmla="*/ 8601 h 10000"/>
              <a:gd name="connsiteX59" fmla="*/ 8059 w 10000"/>
              <a:gd name="connsiteY59" fmla="*/ 8582 h 10000"/>
              <a:gd name="connsiteX60" fmla="*/ 8254 w 10000"/>
              <a:gd name="connsiteY60" fmla="*/ 4879 h 10000"/>
              <a:gd name="connsiteX61" fmla="*/ 8319 w 10000"/>
              <a:gd name="connsiteY61" fmla="*/ 5427 h 10000"/>
              <a:gd name="connsiteX62" fmla="*/ 8409 w 10000"/>
              <a:gd name="connsiteY62" fmla="*/ 4946 h 10000"/>
              <a:gd name="connsiteX63" fmla="*/ 8534 w 10000"/>
              <a:gd name="connsiteY63" fmla="*/ 5543 h 10000"/>
              <a:gd name="connsiteX64" fmla="*/ 8617 w 10000"/>
              <a:gd name="connsiteY64" fmla="*/ 4997 h 10000"/>
              <a:gd name="connsiteX65" fmla="*/ 8681 w 10000"/>
              <a:gd name="connsiteY65" fmla="*/ 7677 h 10000"/>
              <a:gd name="connsiteX66" fmla="*/ 8746 w 10000"/>
              <a:gd name="connsiteY66" fmla="*/ 6591 h 10000"/>
              <a:gd name="connsiteX67" fmla="*/ 8839 w 10000"/>
              <a:gd name="connsiteY67" fmla="*/ 7814 h 10000"/>
              <a:gd name="connsiteX68" fmla="*/ 8891 w 10000"/>
              <a:gd name="connsiteY68" fmla="*/ 7594 h 10000"/>
              <a:gd name="connsiteX69" fmla="*/ 8917 w 10000"/>
              <a:gd name="connsiteY69" fmla="*/ 7970 h 10000"/>
              <a:gd name="connsiteX70" fmla="*/ 9011 w 10000"/>
              <a:gd name="connsiteY70" fmla="*/ 7983 h 10000"/>
              <a:gd name="connsiteX71" fmla="*/ 9017 w 10000"/>
              <a:gd name="connsiteY71" fmla="*/ 7710 h 10000"/>
              <a:gd name="connsiteX72" fmla="*/ 9127 w 10000"/>
              <a:gd name="connsiteY72" fmla="*/ 7929 h 10000"/>
              <a:gd name="connsiteX73" fmla="*/ 9189 w 10000"/>
              <a:gd name="connsiteY73" fmla="*/ 7833 h 10000"/>
              <a:gd name="connsiteX74" fmla="*/ 9213 w 10000"/>
              <a:gd name="connsiteY74" fmla="*/ 7373 h 10000"/>
              <a:gd name="connsiteX75" fmla="*/ 9247 w 10000"/>
              <a:gd name="connsiteY75" fmla="*/ 7816 h 10000"/>
              <a:gd name="connsiteX76" fmla="*/ 9324 w 10000"/>
              <a:gd name="connsiteY76" fmla="*/ 7586 h 10000"/>
              <a:gd name="connsiteX77" fmla="*/ 9435 w 10000"/>
              <a:gd name="connsiteY77" fmla="*/ 7709 h 10000"/>
              <a:gd name="connsiteX78" fmla="*/ 9494 w 10000"/>
              <a:gd name="connsiteY78" fmla="*/ 7970 h 10000"/>
              <a:gd name="connsiteX79" fmla="*/ 9527 w 10000"/>
              <a:gd name="connsiteY79" fmla="*/ 7732 h 10000"/>
              <a:gd name="connsiteX80" fmla="*/ 9585 w 10000"/>
              <a:gd name="connsiteY80" fmla="*/ 7935 h 10000"/>
              <a:gd name="connsiteX81" fmla="*/ 9625 w 10000"/>
              <a:gd name="connsiteY81" fmla="*/ 7240 h 10000"/>
              <a:gd name="connsiteX82" fmla="*/ 9728 w 10000"/>
              <a:gd name="connsiteY82" fmla="*/ 7911 h 10000"/>
              <a:gd name="connsiteX83" fmla="*/ 9838 w 10000"/>
              <a:gd name="connsiteY83" fmla="*/ 7568 h 10000"/>
              <a:gd name="connsiteX84" fmla="*/ 9840 w 10000"/>
              <a:gd name="connsiteY84" fmla="*/ 7290 h 10000"/>
              <a:gd name="connsiteX85" fmla="*/ 9924 w 10000"/>
              <a:gd name="connsiteY85" fmla="*/ 7601 h 10000"/>
              <a:gd name="connsiteX86" fmla="*/ 10000 w 10000"/>
              <a:gd name="connsiteY86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37 w 10000"/>
              <a:gd name="connsiteY42" fmla="*/ 5156 h 10000"/>
              <a:gd name="connsiteX43" fmla="*/ 3585 w 10000"/>
              <a:gd name="connsiteY43" fmla="*/ 4274 h 10000"/>
              <a:gd name="connsiteX44" fmla="*/ 3673 w 10000"/>
              <a:gd name="connsiteY44" fmla="*/ 3199 h 10000"/>
              <a:gd name="connsiteX45" fmla="*/ 3737 w 10000"/>
              <a:gd name="connsiteY45" fmla="*/ 2507 h 10000"/>
              <a:gd name="connsiteX46" fmla="*/ 3830 w 10000"/>
              <a:gd name="connsiteY46" fmla="*/ 1436 h 10000"/>
              <a:gd name="connsiteX47" fmla="*/ 3897 w 10000"/>
              <a:gd name="connsiteY47" fmla="*/ 1151 h 10000"/>
              <a:gd name="connsiteX48" fmla="*/ 4104 w 10000"/>
              <a:gd name="connsiteY48" fmla="*/ 6712 h 10000"/>
              <a:gd name="connsiteX49" fmla="*/ 4700 w 10000"/>
              <a:gd name="connsiteY49" fmla="*/ 6699 h 10000"/>
              <a:gd name="connsiteX50" fmla="*/ 4709 w 10000"/>
              <a:gd name="connsiteY50" fmla="*/ 2140 h 10000"/>
              <a:gd name="connsiteX51" fmla="*/ 4816 w 10000"/>
              <a:gd name="connsiteY51" fmla="*/ 785 h 10000"/>
              <a:gd name="connsiteX52" fmla="*/ 5369 w 10000"/>
              <a:gd name="connsiteY52" fmla="*/ 768 h 10000"/>
              <a:gd name="connsiteX53" fmla="*/ 5368 w 10000"/>
              <a:gd name="connsiteY53" fmla="*/ 747 h 10000"/>
              <a:gd name="connsiteX54" fmla="*/ 5871 w 10000"/>
              <a:gd name="connsiteY54" fmla="*/ 1290 h 10000"/>
              <a:gd name="connsiteX55" fmla="*/ 5900 w 10000"/>
              <a:gd name="connsiteY55" fmla="*/ 0 h 10000"/>
              <a:gd name="connsiteX56" fmla="*/ 6568 w 10000"/>
              <a:gd name="connsiteY56" fmla="*/ 111 h 10000"/>
              <a:gd name="connsiteX57" fmla="*/ 6873 w 10000"/>
              <a:gd name="connsiteY57" fmla="*/ 42 h 10000"/>
              <a:gd name="connsiteX58" fmla="*/ 7066 w 10000"/>
              <a:gd name="connsiteY58" fmla="*/ 362 h 10000"/>
              <a:gd name="connsiteX59" fmla="*/ 7325 w 10000"/>
              <a:gd name="connsiteY59" fmla="*/ 8601 h 10000"/>
              <a:gd name="connsiteX60" fmla="*/ 8059 w 10000"/>
              <a:gd name="connsiteY60" fmla="*/ 8582 h 10000"/>
              <a:gd name="connsiteX61" fmla="*/ 8254 w 10000"/>
              <a:gd name="connsiteY61" fmla="*/ 4879 h 10000"/>
              <a:gd name="connsiteX62" fmla="*/ 8319 w 10000"/>
              <a:gd name="connsiteY62" fmla="*/ 5427 h 10000"/>
              <a:gd name="connsiteX63" fmla="*/ 8409 w 10000"/>
              <a:gd name="connsiteY63" fmla="*/ 4946 h 10000"/>
              <a:gd name="connsiteX64" fmla="*/ 8534 w 10000"/>
              <a:gd name="connsiteY64" fmla="*/ 5543 h 10000"/>
              <a:gd name="connsiteX65" fmla="*/ 8617 w 10000"/>
              <a:gd name="connsiteY65" fmla="*/ 4997 h 10000"/>
              <a:gd name="connsiteX66" fmla="*/ 8681 w 10000"/>
              <a:gd name="connsiteY66" fmla="*/ 7677 h 10000"/>
              <a:gd name="connsiteX67" fmla="*/ 8746 w 10000"/>
              <a:gd name="connsiteY67" fmla="*/ 6591 h 10000"/>
              <a:gd name="connsiteX68" fmla="*/ 8839 w 10000"/>
              <a:gd name="connsiteY68" fmla="*/ 7814 h 10000"/>
              <a:gd name="connsiteX69" fmla="*/ 8891 w 10000"/>
              <a:gd name="connsiteY69" fmla="*/ 7594 h 10000"/>
              <a:gd name="connsiteX70" fmla="*/ 8917 w 10000"/>
              <a:gd name="connsiteY70" fmla="*/ 7970 h 10000"/>
              <a:gd name="connsiteX71" fmla="*/ 9011 w 10000"/>
              <a:gd name="connsiteY71" fmla="*/ 7983 h 10000"/>
              <a:gd name="connsiteX72" fmla="*/ 9017 w 10000"/>
              <a:gd name="connsiteY72" fmla="*/ 7710 h 10000"/>
              <a:gd name="connsiteX73" fmla="*/ 9127 w 10000"/>
              <a:gd name="connsiteY73" fmla="*/ 7929 h 10000"/>
              <a:gd name="connsiteX74" fmla="*/ 9189 w 10000"/>
              <a:gd name="connsiteY74" fmla="*/ 7833 h 10000"/>
              <a:gd name="connsiteX75" fmla="*/ 9213 w 10000"/>
              <a:gd name="connsiteY75" fmla="*/ 7373 h 10000"/>
              <a:gd name="connsiteX76" fmla="*/ 9247 w 10000"/>
              <a:gd name="connsiteY76" fmla="*/ 7816 h 10000"/>
              <a:gd name="connsiteX77" fmla="*/ 9324 w 10000"/>
              <a:gd name="connsiteY77" fmla="*/ 7586 h 10000"/>
              <a:gd name="connsiteX78" fmla="*/ 9435 w 10000"/>
              <a:gd name="connsiteY78" fmla="*/ 7709 h 10000"/>
              <a:gd name="connsiteX79" fmla="*/ 9494 w 10000"/>
              <a:gd name="connsiteY79" fmla="*/ 7970 h 10000"/>
              <a:gd name="connsiteX80" fmla="*/ 9527 w 10000"/>
              <a:gd name="connsiteY80" fmla="*/ 7732 h 10000"/>
              <a:gd name="connsiteX81" fmla="*/ 9585 w 10000"/>
              <a:gd name="connsiteY81" fmla="*/ 7935 h 10000"/>
              <a:gd name="connsiteX82" fmla="*/ 9625 w 10000"/>
              <a:gd name="connsiteY82" fmla="*/ 7240 h 10000"/>
              <a:gd name="connsiteX83" fmla="*/ 9728 w 10000"/>
              <a:gd name="connsiteY83" fmla="*/ 7911 h 10000"/>
              <a:gd name="connsiteX84" fmla="*/ 9838 w 10000"/>
              <a:gd name="connsiteY84" fmla="*/ 7568 h 10000"/>
              <a:gd name="connsiteX85" fmla="*/ 9840 w 10000"/>
              <a:gd name="connsiteY85" fmla="*/ 7290 h 10000"/>
              <a:gd name="connsiteX86" fmla="*/ 9924 w 10000"/>
              <a:gd name="connsiteY86" fmla="*/ 7601 h 10000"/>
              <a:gd name="connsiteX87" fmla="*/ 10000 w 10000"/>
              <a:gd name="connsiteY87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37 w 10000"/>
              <a:gd name="connsiteY42" fmla="*/ 5156 h 10000"/>
              <a:gd name="connsiteX43" fmla="*/ 3531 w 10000"/>
              <a:gd name="connsiteY43" fmla="*/ 4811 h 10000"/>
              <a:gd name="connsiteX44" fmla="*/ 3585 w 10000"/>
              <a:gd name="connsiteY44" fmla="*/ 4274 h 10000"/>
              <a:gd name="connsiteX45" fmla="*/ 3673 w 10000"/>
              <a:gd name="connsiteY45" fmla="*/ 3199 h 10000"/>
              <a:gd name="connsiteX46" fmla="*/ 3737 w 10000"/>
              <a:gd name="connsiteY46" fmla="*/ 2507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37 w 10000"/>
              <a:gd name="connsiteY42" fmla="*/ 5156 h 10000"/>
              <a:gd name="connsiteX43" fmla="*/ 3538 w 10000"/>
              <a:gd name="connsiteY43" fmla="*/ 5326 h 10000"/>
              <a:gd name="connsiteX44" fmla="*/ 3585 w 10000"/>
              <a:gd name="connsiteY44" fmla="*/ 4274 h 10000"/>
              <a:gd name="connsiteX45" fmla="*/ 3673 w 10000"/>
              <a:gd name="connsiteY45" fmla="*/ 3199 h 10000"/>
              <a:gd name="connsiteX46" fmla="*/ 3737 w 10000"/>
              <a:gd name="connsiteY46" fmla="*/ 2507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538 w 10000"/>
              <a:gd name="connsiteY43" fmla="*/ 5326 h 10000"/>
              <a:gd name="connsiteX44" fmla="*/ 3585 w 10000"/>
              <a:gd name="connsiteY44" fmla="*/ 4274 h 10000"/>
              <a:gd name="connsiteX45" fmla="*/ 3673 w 10000"/>
              <a:gd name="connsiteY45" fmla="*/ 3199 h 10000"/>
              <a:gd name="connsiteX46" fmla="*/ 3737 w 10000"/>
              <a:gd name="connsiteY46" fmla="*/ 2507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85 w 10000"/>
              <a:gd name="connsiteY44" fmla="*/ 4274 h 10000"/>
              <a:gd name="connsiteX45" fmla="*/ 3673 w 10000"/>
              <a:gd name="connsiteY45" fmla="*/ 3199 h 10000"/>
              <a:gd name="connsiteX46" fmla="*/ 3737 w 10000"/>
              <a:gd name="connsiteY46" fmla="*/ 2507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834 h 10000"/>
              <a:gd name="connsiteX45" fmla="*/ 3673 w 10000"/>
              <a:gd name="connsiteY45" fmla="*/ 3199 h 10000"/>
              <a:gd name="connsiteX46" fmla="*/ 3737 w 10000"/>
              <a:gd name="connsiteY46" fmla="*/ 2507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834 h 10000"/>
              <a:gd name="connsiteX45" fmla="*/ 3686 w 10000"/>
              <a:gd name="connsiteY45" fmla="*/ 4811 h 10000"/>
              <a:gd name="connsiteX46" fmla="*/ 3737 w 10000"/>
              <a:gd name="connsiteY46" fmla="*/ 2507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834 h 10000"/>
              <a:gd name="connsiteX45" fmla="*/ 3686 w 10000"/>
              <a:gd name="connsiteY45" fmla="*/ 4811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86 w 10000"/>
              <a:gd name="connsiteY45" fmla="*/ 4811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57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325 w 10000"/>
              <a:gd name="connsiteY60" fmla="*/ 8601 h 10000"/>
              <a:gd name="connsiteX61" fmla="*/ 8059 w 10000"/>
              <a:gd name="connsiteY61" fmla="*/ 8582 h 10000"/>
              <a:gd name="connsiteX62" fmla="*/ 8254 w 10000"/>
              <a:gd name="connsiteY62" fmla="*/ 4879 h 10000"/>
              <a:gd name="connsiteX63" fmla="*/ 8319 w 10000"/>
              <a:gd name="connsiteY63" fmla="*/ 5427 h 10000"/>
              <a:gd name="connsiteX64" fmla="*/ 8409 w 10000"/>
              <a:gd name="connsiteY64" fmla="*/ 4946 h 10000"/>
              <a:gd name="connsiteX65" fmla="*/ 8534 w 10000"/>
              <a:gd name="connsiteY65" fmla="*/ 5543 h 10000"/>
              <a:gd name="connsiteX66" fmla="*/ 8617 w 10000"/>
              <a:gd name="connsiteY66" fmla="*/ 4997 h 10000"/>
              <a:gd name="connsiteX67" fmla="*/ 8681 w 10000"/>
              <a:gd name="connsiteY67" fmla="*/ 7677 h 10000"/>
              <a:gd name="connsiteX68" fmla="*/ 8746 w 10000"/>
              <a:gd name="connsiteY68" fmla="*/ 6591 h 10000"/>
              <a:gd name="connsiteX69" fmla="*/ 8839 w 10000"/>
              <a:gd name="connsiteY69" fmla="*/ 7814 h 10000"/>
              <a:gd name="connsiteX70" fmla="*/ 8891 w 10000"/>
              <a:gd name="connsiteY70" fmla="*/ 7594 h 10000"/>
              <a:gd name="connsiteX71" fmla="*/ 8917 w 10000"/>
              <a:gd name="connsiteY71" fmla="*/ 7970 h 10000"/>
              <a:gd name="connsiteX72" fmla="*/ 9011 w 10000"/>
              <a:gd name="connsiteY72" fmla="*/ 7983 h 10000"/>
              <a:gd name="connsiteX73" fmla="*/ 9017 w 10000"/>
              <a:gd name="connsiteY73" fmla="*/ 7710 h 10000"/>
              <a:gd name="connsiteX74" fmla="*/ 9127 w 10000"/>
              <a:gd name="connsiteY74" fmla="*/ 7929 h 10000"/>
              <a:gd name="connsiteX75" fmla="*/ 9189 w 10000"/>
              <a:gd name="connsiteY75" fmla="*/ 7833 h 10000"/>
              <a:gd name="connsiteX76" fmla="*/ 9213 w 10000"/>
              <a:gd name="connsiteY76" fmla="*/ 7373 h 10000"/>
              <a:gd name="connsiteX77" fmla="*/ 9247 w 10000"/>
              <a:gd name="connsiteY77" fmla="*/ 7816 h 10000"/>
              <a:gd name="connsiteX78" fmla="*/ 9324 w 10000"/>
              <a:gd name="connsiteY78" fmla="*/ 7586 h 10000"/>
              <a:gd name="connsiteX79" fmla="*/ 9435 w 10000"/>
              <a:gd name="connsiteY79" fmla="*/ 7709 h 10000"/>
              <a:gd name="connsiteX80" fmla="*/ 9494 w 10000"/>
              <a:gd name="connsiteY80" fmla="*/ 7970 h 10000"/>
              <a:gd name="connsiteX81" fmla="*/ 9527 w 10000"/>
              <a:gd name="connsiteY81" fmla="*/ 7732 h 10000"/>
              <a:gd name="connsiteX82" fmla="*/ 9585 w 10000"/>
              <a:gd name="connsiteY82" fmla="*/ 7935 h 10000"/>
              <a:gd name="connsiteX83" fmla="*/ 9625 w 10000"/>
              <a:gd name="connsiteY83" fmla="*/ 7240 h 10000"/>
              <a:gd name="connsiteX84" fmla="*/ 9728 w 10000"/>
              <a:gd name="connsiteY84" fmla="*/ 7911 h 10000"/>
              <a:gd name="connsiteX85" fmla="*/ 9838 w 10000"/>
              <a:gd name="connsiteY85" fmla="*/ 7568 h 10000"/>
              <a:gd name="connsiteX86" fmla="*/ 9840 w 10000"/>
              <a:gd name="connsiteY86" fmla="*/ 7290 h 10000"/>
              <a:gd name="connsiteX87" fmla="*/ 9924 w 10000"/>
              <a:gd name="connsiteY87" fmla="*/ 7601 h 10000"/>
              <a:gd name="connsiteX88" fmla="*/ 10000 w 10000"/>
              <a:gd name="connsiteY88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253 w 10000"/>
              <a:gd name="connsiteY60" fmla="*/ 6805 h 10000"/>
              <a:gd name="connsiteX61" fmla="*/ 7325 w 10000"/>
              <a:gd name="connsiteY61" fmla="*/ 8601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106 w 10000"/>
              <a:gd name="connsiteY60" fmla="*/ 5180 h 10000"/>
              <a:gd name="connsiteX61" fmla="*/ 7325 w 10000"/>
              <a:gd name="connsiteY61" fmla="*/ 8601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52 w 10000"/>
              <a:gd name="connsiteY60" fmla="*/ 5412 h 10000"/>
              <a:gd name="connsiteX61" fmla="*/ 7325 w 10000"/>
              <a:gd name="connsiteY61" fmla="*/ 8601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52 w 10000"/>
              <a:gd name="connsiteY60" fmla="*/ 5412 h 10000"/>
              <a:gd name="connsiteX61" fmla="*/ 7325 w 10000"/>
              <a:gd name="connsiteY61" fmla="*/ 8601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25 w 10000"/>
              <a:gd name="connsiteY61" fmla="*/ 8601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25 w 10000"/>
              <a:gd name="connsiteY61" fmla="*/ 8601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25 w 10000"/>
              <a:gd name="connsiteY61" fmla="*/ 8601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465 w 10000"/>
              <a:gd name="connsiteY61" fmla="*/ 8549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465 w 10000"/>
              <a:gd name="connsiteY61" fmla="*/ 8549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80 w 10000"/>
              <a:gd name="connsiteY61" fmla="*/ 8549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80 w 10000"/>
              <a:gd name="connsiteY61" fmla="*/ 8549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33 w 10000"/>
              <a:gd name="connsiteY61" fmla="*/ 8523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33 w 10000"/>
              <a:gd name="connsiteY61" fmla="*/ 8523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16 w 10000"/>
              <a:gd name="connsiteY52" fmla="*/ 785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64 w 10000"/>
              <a:gd name="connsiteY61" fmla="*/ 8600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917 w 10000"/>
              <a:gd name="connsiteY52" fmla="*/ 751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64 w 10000"/>
              <a:gd name="connsiteY61" fmla="*/ 8600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66 w 10000"/>
              <a:gd name="connsiteY52" fmla="*/ 751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64 w 10000"/>
              <a:gd name="connsiteY61" fmla="*/ 8600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96 w 10000"/>
              <a:gd name="connsiteY52" fmla="*/ 751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64 w 10000"/>
              <a:gd name="connsiteY61" fmla="*/ 8600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25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96 w 10000"/>
              <a:gd name="connsiteY52" fmla="*/ 751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64 w 10000"/>
              <a:gd name="connsiteY61" fmla="*/ 8600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8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96 w 10000"/>
              <a:gd name="connsiteY52" fmla="*/ 751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64 w 10000"/>
              <a:gd name="connsiteY61" fmla="*/ 8600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  <a:gd name="connsiteX0" fmla="*/ 0 w 10000"/>
              <a:gd name="connsiteY0" fmla="*/ 10000 h 10000"/>
              <a:gd name="connsiteX1" fmla="*/ 8 w 10000"/>
              <a:gd name="connsiteY1" fmla="*/ 5158 h 10000"/>
              <a:gd name="connsiteX2" fmla="*/ 312 w 10000"/>
              <a:gd name="connsiteY2" fmla="*/ 5159 h 10000"/>
              <a:gd name="connsiteX3" fmla="*/ 644 w 10000"/>
              <a:gd name="connsiteY3" fmla="*/ 1262 h 10000"/>
              <a:gd name="connsiteX4" fmla="*/ 666 w 10000"/>
              <a:gd name="connsiteY4" fmla="*/ 1711 h 10000"/>
              <a:gd name="connsiteX5" fmla="*/ 759 w 10000"/>
              <a:gd name="connsiteY5" fmla="*/ 2495 h 10000"/>
              <a:gd name="connsiteX6" fmla="*/ 812 w 10000"/>
              <a:gd name="connsiteY6" fmla="*/ 1596 h 10000"/>
              <a:gd name="connsiteX7" fmla="*/ 886 w 10000"/>
              <a:gd name="connsiteY7" fmla="*/ 1233 h 10000"/>
              <a:gd name="connsiteX8" fmla="*/ 969 w 10000"/>
              <a:gd name="connsiteY8" fmla="*/ 2271 h 10000"/>
              <a:gd name="connsiteX9" fmla="*/ 1055 w 10000"/>
              <a:gd name="connsiteY9" fmla="*/ 1574 h 10000"/>
              <a:gd name="connsiteX10" fmla="*/ 1161 w 10000"/>
              <a:gd name="connsiteY10" fmla="*/ 2522 h 10000"/>
              <a:gd name="connsiteX11" fmla="*/ 1218 w 10000"/>
              <a:gd name="connsiteY11" fmla="*/ 1574 h 10000"/>
              <a:gd name="connsiteX12" fmla="*/ 1272 w 10000"/>
              <a:gd name="connsiteY12" fmla="*/ 1844 h 10000"/>
              <a:gd name="connsiteX13" fmla="*/ 1312 w 10000"/>
              <a:gd name="connsiteY13" fmla="*/ 1484 h 10000"/>
              <a:gd name="connsiteX14" fmla="*/ 1359 w 10000"/>
              <a:gd name="connsiteY14" fmla="*/ 2571 h 10000"/>
              <a:gd name="connsiteX15" fmla="*/ 1434 w 10000"/>
              <a:gd name="connsiteY15" fmla="*/ 1305 h 10000"/>
              <a:gd name="connsiteX16" fmla="*/ 1437 w 10000"/>
              <a:gd name="connsiteY16" fmla="*/ 2314 h 10000"/>
              <a:gd name="connsiteX17" fmla="*/ 1498 w 10000"/>
              <a:gd name="connsiteY17" fmla="*/ 2668 h 10000"/>
              <a:gd name="connsiteX18" fmla="*/ 1545 w 10000"/>
              <a:gd name="connsiteY18" fmla="*/ 2453 h 10000"/>
              <a:gd name="connsiteX19" fmla="*/ 1569 w 10000"/>
              <a:gd name="connsiteY19" fmla="*/ 1755 h 10000"/>
              <a:gd name="connsiteX20" fmla="*/ 1660 w 10000"/>
              <a:gd name="connsiteY20" fmla="*/ 2668 h 10000"/>
              <a:gd name="connsiteX21" fmla="*/ 1735 w 10000"/>
              <a:gd name="connsiteY21" fmla="*/ 2297 h 10000"/>
              <a:gd name="connsiteX22" fmla="*/ 1772 w 10000"/>
              <a:gd name="connsiteY22" fmla="*/ 1124 h 10000"/>
              <a:gd name="connsiteX23" fmla="*/ 1797 w 10000"/>
              <a:gd name="connsiteY23" fmla="*/ 2433 h 10000"/>
              <a:gd name="connsiteX24" fmla="*/ 1825 w 10000"/>
              <a:gd name="connsiteY24" fmla="*/ 2115 h 10000"/>
              <a:gd name="connsiteX25" fmla="*/ 1835 w 10000"/>
              <a:gd name="connsiteY25" fmla="*/ 2340 h 10000"/>
              <a:gd name="connsiteX26" fmla="*/ 1893 w 10000"/>
              <a:gd name="connsiteY26" fmla="*/ 1797 h 10000"/>
              <a:gd name="connsiteX27" fmla="*/ 1988 w 10000"/>
              <a:gd name="connsiteY27" fmla="*/ 2380 h 10000"/>
              <a:gd name="connsiteX28" fmla="*/ 1983 w 10000"/>
              <a:gd name="connsiteY28" fmla="*/ 2928 h 10000"/>
              <a:gd name="connsiteX29" fmla="*/ 2044 w 10000"/>
              <a:gd name="connsiteY29" fmla="*/ 3277 h 10000"/>
              <a:gd name="connsiteX30" fmla="*/ 2081 w 10000"/>
              <a:gd name="connsiteY30" fmla="*/ 2698 h 10000"/>
              <a:gd name="connsiteX31" fmla="*/ 2128 w 10000"/>
              <a:gd name="connsiteY31" fmla="*/ 3328 h 10000"/>
              <a:gd name="connsiteX32" fmla="*/ 2217 w 10000"/>
              <a:gd name="connsiteY32" fmla="*/ 1484 h 10000"/>
              <a:gd name="connsiteX33" fmla="*/ 2281 w 10000"/>
              <a:gd name="connsiteY33" fmla="*/ 3557 h 10000"/>
              <a:gd name="connsiteX34" fmla="*/ 2405 w 10000"/>
              <a:gd name="connsiteY34" fmla="*/ 2517 h 10000"/>
              <a:gd name="connsiteX35" fmla="*/ 2418 w 10000"/>
              <a:gd name="connsiteY35" fmla="*/ 1978 h 10000"/>
              <a:gd name="connsiteX36" fmla="*/ 2495 w 10000"/>
              <a:gd name="connsiteY36" fmla="*/ 2758 h 10000"/>
              <a:gd name="connsiteX37" fmla="*/ 2553 w 10000"/>
              <a:gd name="connsiteY37" fmla="*/ 2247 h 10000"/>
              <a:gd name="connsiteX38" fmla="*/ 2607 w 10000"/>
              <a:gd name="connsiteY38" fmla="*/ 2157 h 10000"/>
              <a:gd name="connsiteX39" fmla="*/ 2702 w 10000"/>
              <a:gd name="connsiteY39" fmla="*/ 1574 h 10000"/>
              <a:gd name="connsiteX40" fmla="*/ 2855 w 10000"/>
              <a:gd name="connsiteY40" fmla="*/ 1499 h 10000"/>
              <a:gd name="connsiteX41" fmla="*/ 3283 w 10000"/>
              <a:gd name="connsiteY41" fmla="*/ 1796 h 10000"/>
              <a:gd name="connsiteX42" fmla="*/ 3417 w 10000"/>
              <a:gd name="connsiteY42" fmla="*/ 4932 h 10000"/>
              <a:gd name="connsiteX43" fmla="*/ 3484 w 10000"/>
              <a:gd name="connsiteY43" fmla="*/ 5169 h 10000"/>
              <a:gd name="connsiteX44" fmla="*/ 3592 w 10000"/>
              <a:gd name="connsiteY44" fmla="*/ 4901 h 10000"/>
              <a:gd name="connsiteX45" fmla="*/ 3693 w 10000"/>
              <a:gd name="connsiteY45" fmla="*/ 4990 h 10000"/>
              <a:gd name="connsiteX46" fmla="*/ 3777 w 10000"/>
              <a:gd name="connsiteY46" fmla="*/ 4544 h 10000"/>
              <a:gd name="connsiteX47" fmla="*/ 3830 w 10000"/>
              <a:gd name="connsiteY47" fmla="*/ 1436 h 10000"/>
              <a:gd name="connsiteX48" fmla="*/ 3897 w 10000"/>
              <a:gd name="connsiteY48" fmla="*/ 1151 h 10000"/>
              <a:gd name="connsiteX49" fmla="*/ 4104 w 10000"/>
              <a:gd name="connsiteY49" fmla="*/ 6712 h 10000"/>
              <a:gd name="connsiteX50" fmla="*/ 4700 w 10000"/>
              <a:gd name="connsiteY50" fmla="*/ 6699 h 10000"/>
              <a:gd name="connsiteX51" fmla="*/ 4709 w 10000"/>
              <a:gd name="connsiteY51" fmla="*/ 2140 h 10000"/>
              <a:gd name="connsiteX52" fmla="*/ 4896 w 10000"/>
              <a:gd name="connsiteY52" fmla="*/ 751 h 10000"/>
              <a:gd name="connsiteX53" fmla="*/ 5369 w 10000"/>
              <a:gd name="connsiteY53" fmla="*/ 768 h 10000"/>
              <a:gd name="connsiteX54" fmla="*/ 5368 w 10000"/>
              <a:gd name="connsiteY54" fmla="*/ 747 h 10000"/>
              <a:gd name="connsiteX55" fmla="*/ 5871 w 10000"/>
              <a:gd name="connsiteY55" fmla="*/ 1290 h 10000"/>
              <a:gd name="connsiteX56" fmla="*/ 5900 w 10000"/>
              <a:gd name="connsiteY56" fmla="*/ 0 h 10000"/>
              <a:gd name="connsiteX57" fmla="*/ 6568 w 10000"/>
              <a:gd name="connsiteY57" fmla="*/ 111 h 10000"/>
              <a:gd name="connsiteX58" fmla="*/ 6873 w 10000"/>
              <a:gd name="connsiteY58" fmla="*/ 42 h 10000"/>
              <a:gd name="connsiteX59" fmla="*/ 7066 w 10000"/>
              <a:gd name="connsiteY59" fmla="*/ 362 h 10000"/>
              <a:gd name="connsiteX60" fmla="*/ 7083 w 10000"/>
              <a:gd name="connsiteY60" fmla="*/ 5386 h 10000"/>
              <a:gd name="connsiteX61" fmla="*/ 7364 w 10000"/>
              <a:gd name="connsiteY61" fmla="*/ 8600 h 10000"/>
              <a:gd name="connsiteX62" fmla="*/ 8059 w 10000"/>
              <a:gd name="connsiteY62" fmla="*/ 8582 h 10000"/>
              <a:gd name="connsiteX63" fmla="*/ 8254 w 10000"/>
              <a:gd name="connsiteY63" fmla="*/ 4879 h 10000"/>
              <a:gd name="connsiteX64" fmla="*/ 8319 w 10000"/>
              <a:gd name="connsiteY64" fmla="*/ 5427 h 10000"/>
              <a:gd name="connsiteX65" fmla="*/ 8409 w 10000"/>
              <a:gd name="connsiteY65" fmla="*/ 4946 h 10000"/>
              <a:gd name="connsiteX66" fmla="*/ 8534 w 10000"/>
              <a:gd name="connsiteY66" fmla="*/ 5543 h 10000"/>
              <a:gd name="connsiteX67" fmla="*/ 8617 w 10000"/>
              <a:gd name="connsiteY67" fmla="*/ 4997 h 10000"/>
              <a:gd name="connsiteX68" fmla="*/ 8681 w 10000"/>
              <a:gd name="connsiteY68" fmla="*/ 7677 h 10000"/>
              <a:gd name="connsiteX69" fmla="*/ 8746 w 10000"/>
              <a:gd name="connsiteY69" fmla="*/ 6591 h 10000"/>
              <a:gd name="connsiteX70" fmla="*/ 8839 w 10000"/>
              <a:gd name="connsiteY70" fmla="*/ 7814 h 10000"/>
              <a:gd name="connsiteX71" fmla="*/ 8891 w 10000"/>
              <a:gd name="connsiteY71" fmla="*/ 7594 h 10000"/>
              <a:gd name="connsiteX72" fmla="*/ 8917 w 10000"/>
              <a:gd name="connsiteY72" fmla="*/ 7970 h 10000"/>
              <a:gd name="connsiteX73" fmla="*/ 9011 w 10000"/>
              <a:gd name="connsiteY73" fmla="*/ 7983 h 10000"/>
              <a:gd name="connsiteX74" fmla="*/ 9017 w 10000"/>
              <a:gd name="connsiteY74" fmla="*/ 7710 h 10000"/>
              <a:gd name="connsiteX75" fmla="*/ 9127 w 10000"/>
              <a:gd name="connsiteY75" fmla="*/ 7929 h 10000"/>
              <a:gd name="connsiteX76" fmla="*/ 9189 w 10000"/>
              <a:gd name="connsiteY76" fmla="*/ 7833 h 10000"/>
              <a:gd name="connsiteX77" fmla="*/ 9213 w 10000"/>
              <a:gd name="connsiteY77" fmla="*/ 7373 h 10000"/>
              <a:gd name="connsiteX78" fmla="*/ 9247 w 10000"/>
              <a:gd name="connsiteY78" fmla="*/ 7816 h 10000"/>
              <a:gd name="connsiteX79" fmla="*/ 9324 w 10000"/>
              <a:gd name="connsiteY79" fmla="*/ 7586 h 10000"/>
              <a:gd name="connsiteX80" fmla="*/ 9435 w 10000"/>
              <a:gd name="connsiteY80" fmla="*/ 7709 h 10000"/>
              <a:gd name="connsiteX81" fmla="*/ 9494 w 10000"/>
              <a:gd name="connsiteY81" fmla="*/ 7970 h 10000"/>
              <a:gd name="connsiteX82" fmla="*/ 9527 w 10000"/>
              <a:gd name="connsiteY82" fmla="*/ 7732 h 10000"/>
              <a:gd name="connsiteX83" fmla="*/ 9585 w 10000"/>
              <a:gd name="connsiteY83" fmla="*/ 7935 h 10000"/>
              <a:gd name="connsiteX84" fmla="*/ 9625 w 10000"/>
              <a:gd name="connsiteY84" fmla="*/ 7240 h 10000"/>
              <a:gd name="connsiteX85" fmla="*/ 9728 w 10000"/>
              <a:gd name="connsiteY85" fmla="*/ 7911 h 10000"/>
              <a:gd name="connsiteX86" fmla="*/ 9838 w 10000"/>
              <a:gd name="connsiteY86" fmla="*/ 7568 h 10000"/>
              <a:gd name="connsiteX87" fmla="*/ 9840 w 10000"/>
              <a:gd name="connsiteY87" fmla="*/ 7290 h 10000"/>
              <a:gd name="connsiteX88" fmla="*/ 9924 w 10000"/>
              <a:gd name="connsiteY88" fmla="*/ 7601 h 10000"/>
              <a:gd name="connsiteX89" fmla="*/ 10000 w 10000"/>
              <a:gd name="connsiteY89" fmla="*/ 7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cubicBezTo>
                  <a:pt x="3" y="8386"/>
                  <a:pt x="5" y="6772"/>
                  <a:pt x="8" y="5158"/>
                </a:cubicBezTo>
                <a:lnTo>
                  <a:pt x="312" y="5159"/>
                </a:lnTo>
                <a:cubicBezTo>
                  <a:pt x="423" y="3860"/>
                  <a:pt x="533" y="2561"/>
                  <a:pt x="644" y="1262"/>
                </a:cubicBezTo>
                <a:cubicBezTo>
                  <a:pt x="651" y="1412"/>
                  <a:pt x="659" y="1561"/>
                  <a:pt x="666" y="1711"/>
                </a:cubicBezTo>
                <a:cubicBezTo>
                  <a:pt x="697" y="1972"/>
                  <a:pt x="728" y="2234"/>
                  <a:pt x="759" y="2495"/>
                </a:cubicBezTo>
                <a:cubicBezTo>
                  <a:pt x="777" y="2195"/>
                  <a:pt x="794" y="1896"/>
                  <a:pt x="812" y="1596"/>
                </a:cubicBezTo>
                <a:cubicBezTo>
                  <a:pt x="837" y="1475"/>
                  <a:pt x="861" y="1354"/>
                  <a:pt x="886" y="1233"/>
                </a:cubicBezTo>
                <a:cubicBezTo>
                  <a:pt x="914" y="1579"/>
                  <a:pt x="941" y="1925"/>
                  <a:pt x="969" y="2271"/>
                </a:cubicBezTo>
                <a:cubicBezTo>
                  <a:pt x="998" y="2039"/>
                  <a:pt x="1026" y="1806"/>
                  <a:pt x="1055" y="1574"/>
                </a:cubicBezTo>
                <a:cubicBezTo>
                  <a:pt x="1090" y="1890"/>
                  <a:pt x="1126" y="2206"/>
                  <a:pt x="1161" y="2522"/>
                </a:cubicBezTo>
                <a:cubicBezTo>
                  <a:pt x="1178" y="2254"/>
                  <a:pt x="1201" y="1842"/>
                  <a:pt x="1218" y="1574"/>
                </a:cubicBezTo>
                <a:cubicBezTo>
                  <a:pt x="1236" y="1665"/>
                  <a:pt x="1254" y="1755"/>
                  <a:pt x="1272" y="1844"/>
                </a:cubicBezTo>
                <a:cubicBezTo>
                  <a:pt x="1285" y="1724"/>
                  <a:pt x="1299" y="1604"/>
                  <a:pt x="1312" y="1484"/>
                </a:cubicBezTo>
                <a:cubicBezTo>
                  <a:pt x="1325" y="1813"/>
                  <a:pt x="1347" y="2242"/>
                  <a:pt x="1359" y="2571"/>
                </a:cubicBezTo>
                <a:cubicBezTo>
                  <a:pt x="1384" y="2149"/>
                  <a:pt x="1409" y="1726"/>
                  <a:pt x="1434" y="1305"/>
                </a:cubicBezTo>
                <a:cubicBezTo>
                  <a:pt x="1438" y="1619"/>
                  <a:pt x="1433" y="2000"/>
                  <a:pt x="1437" y="2314"/>
                </a:cubicBezTo>
                <a:cubicBezTo>
                  <a:pt x="1456" y="2404"/>
                  <a:pt x="1479" y="2578"/>
                  <a:pt x="1498" y="2668"/>
                </a:cubicBezTo>
                <a:cubicBezTo>
                  <a:pt x="1512" y="2637"/>
                  <a:pt x="1531" y="2483"/>
                  <a:pt x="1545" y="2453"/>
                </a:cubicBezTo>
                <a:cubicBezTo>
                  <a:pt x="1555" y="2228"/>
                  <a:pt x="1560" y="1980"/>
                  <a:pt x="1569" y="1755"/>
                </a:cubicBezTo>
                <a:cubicBezTo>
                  <a:pt x="1605" y="2009"/>
                  <a:pt x="1625" y="2414"/>
                  <a:pt x="1660" y="2668"/>
                </a:cubicBezTo>
                <a:cubicBezTo>
                  <a:pt x="1678" y="2578"/>
                  <a:pt x="1716" y="2388"/>
                  <a:pt x="1735" y="2297"/>
                </a:cubicBezTo>
                <a:cubicBezTo>
                  <a:pt x="1749" y="1923"/>
                  <a:pt x="1758" y="1498"/>
                  <a:pt x="1772" y="1124"/>
                </a:cubicBezTo>
                <a:cubicBezTo>
                  <a:pt x="1781" y="1512"/>
                  <a:pt x="1789" y="2044"/>
                  <a:pt x="1797" y="2433"/>
                </a:cubicBezTo>
                <a:cubicBezTo>
                  <a:pt x="1806" y="2374"/>
                  <a:pt x="1816" y="2173"/>
                  <a:pt x="1825" y="2115"/>
                </a:cubicBezTo>
                <a:cubicBezTo>
                  <a:pt x="1830" y="2159"/>
                  <a:pt x="1831" y="2294"/>
                  <a:pt x="1835" y="2340"/>
                </a:cubicBezTo>
                <a:cubicBezTo>
                  <a:pt x="1854" y="2189"/>
                  <a:pt x="1875" y="1946"/>
                  <a:pt x="1893" y="1797"/>
                </a:cubicBezTo>
                <a:cubicBezTo>
                  <a:pt x="1924" y="1992"/>
                  <a:pt x="1956" y="2185"/>
                  <a:pt x="1988" y="2380"/>
                </a:cubicBezTo>
                <a:cubicBezTo>
                  <a:pt x="1986" y="2563"/>
                  <a:pt x="1985" y="2745"/>
                  <a:pt x="1983" y="2928"/>
                </a:cubicBezTo>
                <a:cubicBezTo>
                  <a:pt x="2000" y="3003"/>
                  <a:pt x="2026" y="3202"/>
                  <a:pt x="2044" y="3277"/>
                </a:cubicBezTo>
                <a:cubicBezTo>
                  <a:pt x="2057" y="3143"/>
                  <a:pt x="2067" y="2832"/>
                  <a:pt x="2081" y="2698"/>
                </a:cubicBezTo>
                <a:cubicBezTo>
                  <a:pt x="2099" y="2832"/>
                  <a:pt x="2109" y="3193"/>
                  <a:pt x="2128" y="3328"/>
                </a:cubicBezTo>
                <a:cubicBezTo>
                  <a:pt x="2154" y="2789"/>
                  <a:pt x="2189" y="2024"/>
                  <a:pt x="2217" y="1484"/>
                </a:cubicBezTo>
                <a:cubicBezTo>
                  <a:pt x="2239" y="2114"/>
                  <a:pt x="2259" y="2927"/>
                  <a:pt x="2281" y="3557"/>
                </a:cubicBezTo>
                <a:cubicBezTo>
                  <a:pt x="2321" y="3272"/>
                  <a:pt x="2365" y="2802"/>
                  <a:pt x="2405" y="2517"/>
                </a:cubicBezTo>
                <a:cubicBezTo>
                  <a:pt x="2409" y="2338"/>
                  <a:pt x="2414" y="2157"/>
                  <a:pt x="2418" y="1978"/>
                </a:cubicBezTo>
                <a:cubicBezTo>
                  <a:pt x="2445" y="2187"/>
                  <a:pt x="2467" y="2548"/>
                  <a:pt x="2495" y="2758"/>
                </a:cubicBezTo>
                <a:cubicBezTo>
                  <a:pt x="2512" y="2637"/>
                  <a:pt x="2536" y="2368"/>
                  <a:pt x="2553" y="2247"/>
                </a:cubicBezTo>
                <a:cubicBezTo>
                  <a:pt x="2572" y="2217"/>
                  <a:pt x="2589" y="2187"/>
                  <a:pt x="2607" y="2157"/>
                </a:cubicBezTo>
                <a:cubicBezTo>
                  <a:pt x="2639" y="1962"/>
                  <a:pt x="2670" y="1769"/>
                  <a:pt x="2702" y="1574"/>
                </a:cubicBezTo>
                <a:lnTo>
                  <a:pt x="2855" y="1499"/>
                </a:lnTo>
                <a:lnTo>
                  <a:pt x="3283" y="1796"/>
                </a:lnTo>
                <a:cubicBezTo>
                  <a:pt x="3328" y="2841"/>
                  <a:pt x="3372" y="3887"/>
                  <a:pt x="3417" y="4932"/>
                </a:cubicBezTo>
                <a:cubicBezTo>
                  <a:pt x="3439" y="5011"/>
                  <a:pt x="3462" y="5090"/>
                  <a:pt x="3484" y="5169"/>
                </a:cubicBezTo>
                <a:lnTo>
                  <a:pt x="3592" y="4901"/>
                </a:lnTo>
                <a:lnTo>
                  <a:pt x="3693" y="4990"/>
                </a:lnTo>
                <a:cubicBezTo>
                  <a:pt x="3721" y="4841"/>
                  <a:pt x="3749" y="4693"/>
                  <a:pt x="3777" y="4544"/>
                </a:cubicBezTo>
                <a:cubicBezTo>
                  <a:pt x="3797" y="4378"/>
                  <a:pt x="3805" y="1946"/>
                  <a:pt x="3830" y="1436"/>
                </a:cubicBezTo>
                <a:cubicBezTo>
                  <a:pt x="3867" y="1324"/>
                  <a:pt x="3860" y="1264"/>
                  <a:pt x="3897" y="1151"/>
                </a:cubicBezTo>
                <a:lnTo>
                  <a:pt x="4104" y="6712"/>
                </a:lnTo>
                <a:lnTo>
                  <a:pt x="4700" y="6699"/>
                </a:lnTo>
                <a:cubicBezTo>
                  <a:pt x="4703" y="5179"/>
                  <a:pt x="4706" y="3660"/>
                  <a:pt x="4709" y="2140"/>
                </a:cubicBezTo>
                <a:cubicBezTo>
                  <a:pt x="4771" y="1677"/>
                  <a:pt x="4834" y="1214"/>
                  <a:pt x="4896" y="751"/>
                </a:cubicBezTo>
                <a:lnTo>
                  <a:pt x="5369" y="768"/>
                </a:lnTo>
                <a:cubicBezTo>
                  <a:pt x="5376" y="761"/>
                  <a:pt x="5360" y="754"/>
                  <a:pt x="5368" y="747"/>
                </a:cubicBezTo>
                <a:cubicBezTo>
                  <a:pt x="5535" y="963"/>
                  <a:pt x="5703" y="1074"/>
                  <a:pt x="5871" y="1290"/>
                </a:cubicBezTo>
                <a:cubicBezTo>
                  <a:pt x="5881" y="860"/>
                  <a:pt x="5890" y="430"/>
                  <a:pt x="5900" y="0"/>
                </a:cubicBezTo>
                <a:lnTo>
                  <a:pt x="6568" y="111"/>
                </a:lnTo>
                <a:lnTo>
                  <a:pt x="6873" y="42"/>
                </a:lnTo>
                <a:cubicBezTo>
                  <a:pt x="6937" y="151"/>
                  <a:pt x="7002" y="219"/>
                  <a:pt x="7066" y="362"/>
                </a:cubicBezTo>
                <a:cubicBezTo>
                  <a:pt x="7072" y="2037"/>
                  <a:pt x="7077" y="3711"/>
                  <a:pt x="7083" y="5386"/>
                </a:cubicBezTo>
                <a:cubicBezTo>
                  <a:pt x="7166" y="6432"/>
                  <a:pt x="7281" y="7554"/>
                  <a:pt x="7364" y="8600"/>
                </a:cubicBezTo>
                <a:lnTo>
                  <a:pt x="8059" y="8582"/>
                </a:lnTo>
                <a:lnTo>
                  <a:pt x="8254" y="4879"/>
                </a:lnTo>
                <a:cubicBezTo>
                  <a:pt x="8276" y="5062"/>
                  <a:pt x="8297" y="5244"/>
                  <a:pt x="8319" y="5427"/>
                </a:cubicBezTo>
                <a:cubicBezTo>
                  <a:pt x="8349" y="5267"/>
                  <a:pt x="8379" y="5106"/>
                  <a:pt x="8409" y="4946"/>
                </a:cubicBezTo>
                <a:cubicBezTo>
                  <a:pt x="8451" y="5145"/>
                  <a:pt x="8492" y="5344"/>
                  <a:pt x="8534" y="5543"/>
                </a:cubicBezTo>
                <a:cubicBezTo>
                  <a:pt x="8562" y="5371"/>
                  <a:pt x="8587" y="5211"/>
                  <a:pt x="8617" y="4997"/>
                </a:cubicBezTo>
                <a:cubicBezTo>
                  <a:pt x="8638" y="5890"/>
                  <a:pt x="8660" y="6784"/>
                  <a:pt x="8681" y="7677"/>
                </a:cubicBezTo>
                <a:cubicBezTo>
                  <a:pt x="8708" y="7377"/>
                  <a:pt x="8720" y="6891"/>
                  <a:pt x="8746" y="6591"/>
                </a:cubicBezTo>
                <a:cubicBezTo>
                  <a:pt x="8777" y="7072"/>
                  <a:pt x="8809" y="7334"/>
                  <a:pt x="8839" y="7814"/>
                </a:cubicBezTo>
                <a:cubicBezTo>
                  <a:pt x="8867" y="7732"/>
                  <a:pt x="8880" y="7644"/>
                  <a:pt x="8891" y="7594"/>
                </a:cubicBezTo>
                <a:cubicBezTo>
                  <a:pt x="8901" y="7787"/>
                  <a:pt x="8912" y="7850"/>
                  <a:pt x="8917" y="7970"/>
                </a:cubicBezTo>
                <a:cubicBezTo>
                  <a:pt x="8957" y="7967"/>
                  <a:pt x="8976" y="7974"/>
                  <a:pt x="9011" y="7983"/>
                </a:cubicBezTo>
                <a:cubicBezTo>
                  <a:pt x="9016" y="7876"/>
                  <a:pt x="9016" y="7822"/>
                  <a:pt x="9017" y="7710"/>
                </a:cubicBezTo>
                <a:cubicBezTo>
                  <a:pt x="9054" y="7791"/>
                  <a:pt x="9092" y="7866"/>
                  <a:pt x="9127" y="7929"/>
                </a:cubicBezTo>
                <a:cubicBezTo>
                  <a:pt x="9151" y="7920"/>
                  <a:pt x="9157" y="7879"/>
                  <a:pt x="9189" y="7833"/>
                </a:cubicBezTo>
                <a:cubicBezTo>
                  <a:pt x="9194" y="7696"/>
                  <a:pt x="9204" y="7561"/>
                  <a:pt x="9213" y="7373"/>
                </a:cubicBezTo>
                <a:cubicBezTo>
                  <a:pt x="9232" y="7591"/>
                  <a:pt x="9233" y="7698"/>
                  <a:pt x="9247" y="7816"/>
                </a:cubicBezTo>
                <a:cubicBezTo>
                  <a:pt x="9269" y="7758"/>
                  <a:pt x="9299" y="7708"/>
                  <a:pt x="9324" y="7586"/>
                </a:cubicBezTo>
                <a:cubicBezTo>
                  <a:pt x="9360" y="7635"/>
                  <a:pt x="9394" y="7657"/>
                  <a:pt x="9435" y="7709"/>
                </a:cubicBezTo>
                <a:cubicBezTo>
                  <a:pt x="9455" y="7774"/>
                  <a:pt x="9474" y="7905"/>
                  <a:pt x="9494" y="7970"/>
                </a:cubicBezTo>
                <a:cubicBezTo>
                  <a:pt x="9508" y="7925"/>
                  <a:pt x="9514" y="7778"/>
                  <a:pt x="9527" y="7732"/>
                </a:cubicBezTo>
                <a:cubicBezTo>
                  <a:pt x="9550" y="7815"/>
                  <a:pt x="9561" y="7852"/>
                  <a:pt x="9585" y="7935"/>
                </a:cubicBezTo>
                <a:cubicBezTo>
                  <a:pt x="9602" y="7757"/>
                  <a:pt x="9606" y="7419"/>
                  <a:pt x="9625" y="7240"/>
                </a:cubicBezTo>
                <a:cubicBezTo>
                  <a:pt x="9651" y="7435"/>
                  <a:pt x="9701" y="7718"/>
                  <a:pt x="9728" y="7911"/>
                </a:cubicBezTo>
                <a:cubicBezTo>
                  <a:pt x="9763" y="7791"/>
                  <a:pt x="9802" y="7689"/>
                  <a:pt x="9838" y="7568"/>
                </a:cubicBezTo>
                <a:cubicBezTo>
                  <a:pt x="9847" y="7495"/>
                  <a:pt x="9840" y="7452"/>
                  <a:pt x="9840" y="7290"/>
                </a:cubicBezTo>
                <a:cubicBezTo>
                  <a:pt x="9869" y="7415"/>
                  <a:pt x="9902" y="7528"/>
                  <a:pt x="9924" y="7601"/>
                </a:cubicBezTo>
                <a:cubicBezTo>
                  <a:pt x="9951" y="7571"/>
                  <a:pt x="9972" y="7508"/>
                  <a:pt x="10000" y="7444"/>
                </a:cubicBezTo>
              </a:path>
            </a:pathLst>
          </a:custGeom>
          <a:noFill/>
          <a:ln w="33338" cap="flat">
            <a:solidFill>
              <a:srgbClr val="005F8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20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6" name="Rechteck 33">
            <a:extLst>
              <a:ext uri="{FF2B5EF4-FFF2-40B4-BE49-F238E27FC236}">
                <a16:creationId xmlns:a16="http://schemas.microsoft.com/office/drawing/2014/main" id="{D4013963-C56C-447A-99EB-C7DE766F5D58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425003" y="5532733"/>
            <a:ext cx="1296000" cy="647211"/>
          </a:xfrm>
          <a:prstGeom prst="rect">
            <a:avLst/>
          </a:prstGeo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mary frequency response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2A81219-0B4B-4D79-80B9-ACC600B6F244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025785" y="5532733"/>
            <a:ext cx="1296000" cy="647211"/>
          </a:xfrm>
          <a:prstGeom prst="rect">
            <a:avLst/>
          </a:prstGeo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ast </a:t>
            </a:r>
            <a:b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tart-up</a:t>
            </a:r>
          </a:p>
        </p:txBody>
      </p:sp>
      <p:sp>
        <p:nvSpPr>
          <p:cNvPr id="38" name="Rechteck 42">
            <a:extLst>
              <a:ext uri="{FF2B5EF4-FFF2-40B4-BE49-F238E27FC236}">
                <a16:creationId xmlns:a16="http://schemas.microsoft.com/office/drawing/2014/main" id="{0426DC93-9C30-4D4F-8858-9EDF1169EFC3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4824221" y="5532733"/>
            <a:ext cx="1296000" cy="647211"/>
          </a:xfrm>
          <a:prstGeom prst="rect">
            <a:avLst/>
          </a:prstGeo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econdary frequency response</a:t>
            </a:r>
          </a:p>
        </p:txBody>
      </p:sp>
      <p:sp>
        <p:nvSpPr>
          <p:cNvPr id="39" name="Rechteck 95">
            <a:extLst>
              <a:ext uri="{FF2B5EF4-FFF2-40B4-BE49-F238E27FC236}">
                <a16:creationId xmlns:a16="http://schemas.microsoft.com/office/drawing/2014/main" id="{6FC7A196-CAE8-4389-B668-44734A21562F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9021875" y="5532733"/>
            <a:ext cx="1296000" cy="647211"/>
          </a:xfrm>
          <a:prstGeom prst="rect">
            <a:avLst/>
          </a:prstGeo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Minimum </a:t>
            </a:r>
            <a:b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oad</a:t>
            </a:r>
          </a:p>
        </p:txBody>
      </p:sp>
      <p:sp>
        <p:nvSpPr>
          <p:cNvPr id="40" name="Rechteck 110">
            <a:extLst>
              <a:ext uri="{FF2B5EF4-FFF2-40B4-BE49-F238E27FC236}">
                <a16:creationId xmlns:a16="http://schemas.microsoft.com/office/drawing/2014/main" id="{F9EABF90-5C36-4617-9AF1-643144B03271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223439" y="5532733"/>
            <a:ext cx="1296000" cy="647211"/>
          </a:xfrm>
          <a:prstGeom prst="rect">
            <a:avLst/>
          </a:prstGeo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cceleration </a:t>
            </a:r>
            <a:b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&amp; stabilization </a:t>
            </a:r>
            <a:b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f load ramps</a:t>
            </a:r>
          </a:p>
        </p:txBody>
      </p:sp>
      <p:sp>
        <p:nvSpPr>
          <p:cNvPr id="41" name="Rechteck 115">
            <a:extLst>
              <a:ext uri="{FF2B5EF4-FFF2-40B4-BE49-F238E27FC236}">
                <a16:creationId xmlns:a16="http://schemas.microsoft.com/office/drawing/2014/main" id="{6CF41AFA-F5CF-46D0-B20F-AEB45CCD4342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10421094" y="5532733"/>
            <a:ext cx="1296000" cy="647211"/>
          </a:xfrm>
          <a:prstGeom prst="rect">
            <a:avLst/>
          </a:prstGeo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Islanding</a:t>
            </a:r>
            <a:br>
              <a:rPr lang="en-US" altLang="de-DE" sz="12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en-US" altLang="de-DE" sz="12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ff-grid</a:t>
            </a:r>
            <a:endParaRPr lang="en-US" altLang="de-DE" sz="12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2" name="Rechteck 127">
            <a:extLst>
              <a:ext uri="{FF2B5EF4-FFF2-40B4-BE49-F238E27FC236}">
                <a16:creationId xmlns:a16="http://schemas.microsoft.com/office/drawing/2014/main" id="{2BA0D512-4628-4BB7-9D01-FC20F8D61382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7622657" y="5532733"/>
            <a:ext cx="1296000" cy="647211"/>
          </a:xfrm>
          <a:prstGeom prst="rect">
            <a:avLst/>
          </a:prstGeo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perating reserve for </a:t>
            </a:r>
            <a:b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eak power</a:t>
            </a:r>
          </a:p>
        </p:txBody>
      </p:sp>
      <p:sp>
        <p:nvSpPr>
          <p:cNvPr id="43" name="Rechteck 58">
            <a:extLst>
              <a:ext uri="{FF2B5EF4-FFF2-40B4-BE49-F238E27FC236}">
                <a16:creationId xmlns:a16="http://schemas.microsoft.com/office/drawing/2014/main" id="{CF2E193B-501D-48B5-BCA5-E7AC05A2FF8A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626567" y="5532733"/>
            <a:ext cx="1296000" cy="647211"/>
          </a:xfrm>
          <a:prstGeom prst="rect">
            <a:avLst/>
          </a:prstGeo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 algn="l" eaLnBrk="0" hangingPunct="0">
              <a:spcBef>
                <a:spcPct val="0"/>
              </a:spcBef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1600200" indent="-228600" algn="l" eaLnBrk="0" hangingPunct="0">
              <a:spcBef>
                <a:spcPct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057400" indent="-228600" algn="l" eaLnBrk="0" hangingPunct="0">
              <a:spcBef>
                <a:spcPct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de-DE" sz="1200" b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Black </a:t>
            </a:r>
            <a:r>
              <a:rPr lang="en-US" altLang="de-DE" sz="1200" b="1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tart and support of grid </a:t>
            </a:r>
            <a:r>
              <a:rPr lang="en-US" altLang="de-DE" sz="1200" b="1" dirty="0" err="1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restorage</a:t>
            </a:r>
            <a:endParaRPr lang="en-US" altLang="de-DE" sz="12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4" name="Rechteck 308">
            <a:extLst>
              <a:ext uri="{FF2B5EF4-FFF2-40B4-BE49-F238E27FC236}">
                <a16:creationId xmlns:a16="http://schemas.microsoft.com/office/drawing/2014/main" id="{0F71EF2D-6B43-49FC-A3D0-C9BE09C8740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22614" y="4365842"/>
            <a:ext cx="118797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buClr>
                <a:srgbClr val="264C72"/>
              </a:buClr>
            </a:pPr>
            <a:r>
              <a:rPr lang="en-US" sz="1400" b="1" dirty="0">
                <a:solidFill>
                  <a:srgbClr val="3C464B"/>
                </a:solidFill>
                <a:latin typeface="+mn-lt"/>
                <a:ea typeface="+mn-ea"/>
                <a:cs typeface="Arial" panose="020B0604020202020204" pitchFamily="34" charset="0"/>
              </a:rPr>
              <a:t>Black start</a:t>
            </a:r>
          </a:p>
        </p:txBody>
      </p:sp>
    </p:spTree>
    <p:extLst>
      <p:ext uri="{BB962C8B-B14F-4D97-AF65-F5344CB8AC3E}">
        <p14:creationId xmlns:p14="http://schemas.microsoft.com/office/powerpoint/2010/main" val="2880050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0" grpId="0" animBg="1"/>
      <p:bldP spid="257" grpId="0" animBg="1"/>
      <p:bldP spid="264" grpId="0" animBg="1"/>
      <p:bldP spid="310" grpId="0"/>
      <p:bldP spid="311" grpId="0"/>
      <p:bldP spid="312" grpId="0"/>
      <p:bldP spid="314" grpId="0"/>
      <p:bldP spid="150" grpId="0"/>
      <p:bldP spid="151" grpId="0"/>
      <p:bldP spid="253" grpId="0" animBg="1"/>
      <p:bldP spid="66" grpId="0" animBg="1"/>
      <p:bldP spid="6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>
            <a:extLst>
              <a:ext uri="{FF2B5EF4-FFF2-40B4-BE49-F238E27FC236}">
                <a16:creationId xmlns:a16="http://schemas.microsoft.com/office/drawing/2014/main" id="{F44939F9-1B41-4A61-AFBB-596FD7542C8E}"/>
              </a:ext>
            </a:extLst>
          </p:cNvPr>
          <p:cNvSpPr/>
          <p:nvPr/>
        </p:nvSpPr>
        <p:spPr bwMode="auto">
          <a:xfrm>
            <a:off x="8126166" y="1329929"/>
            <a:ext cx="4080017" cy="5199372"/>
          </a:xfrm>
          <a:prstGeom prst="rect">
            <a:avLst/>
          </a:prstGeom>
          <a:solidFill>
            <a:srgbClr val="F4D0E5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A85F616-F337-47DE-A542-B46925FA7880}"/>
              </a:ext>
            </a:extLst>
          </p:cNvPr>
          <p:cNvSpPr/>
          <p:nvPr/>
        </p:nvSpPr>
        <p:spPr bwMode="auto">
          <a:xfrm>
            <a:off x="3998564" y="1325972"/>
            <a:ext cx="3959512" cy="519832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336B501-A218-42B4-B8FE-8A61E9418C50}"/>
              </a:ext>
            </a:extLst>
          </p:cNvPr>
          <p:cNvSpPr/>
          <p:nvPr/>
        </p:nvSpPr>
        <p:spPr bwMode="auto">
          <a:xfrm>
            <a:off x="0" y="1314393"/>
            <a:ext cx="3828407" cy="51983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440000"/>
          </a:xfrm>
        </p:spPr>
        <p:txBody>
          <a:bodyPr/>
          <a:lstStyle/>
          <a:p>
            <a:r>
              <a:rPr lang="en-US" sz="2400" dirty="0" err="1"/>
              <a:t>SynerGen</a:t>
            </a:r>
            <a:r>
              <a:rPr lang="en-US" sz="2400" dirty="0"/>
              <a:t> Use Cases – Battery storage + gas-fired gener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06C322F-CD60-4239-AFEE-D860DCE1F46F}"/>
              </a:ext>
            </a:extLst>
          </p:cNvPr>
          <p:cNvSpPr txBox="1"/>
          <p:nvPr/>
        </p:nvSpPr>
        <p:spPr>
          <a:xfrm>
            <a:off x="1035273" y="1340768"/>
            <a:ext cx="1888966" cy="3980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300"/>
              </a:spcBef>
            </a:pPr>
            <a:r>
              <a:rPr lang="en-US" sz="20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Cost Reduction</a:t>
            </a:r>
            <a:endParaRPr lang="en-US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2B286A4-B1F0-455B-9210-722E1D835BA3}"/>
              </a:ext>
            </a:extLst>
          </p:cNvPr>
          <p:cNvSpPr txBox="1"/>
          <p:nvPr/>
        </p:nvSpPr>
        <p:spPr>
          <a:xfrm>
            <a:off x="8850442" y="1340768"/>
            <a:ext cx="2736304" cy="3980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300"/>
              </a:spcBef>
            </a:pPr>
            <a:r>
              <a:rPr lang="en-US" sz="20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Revenue Generation</a:t>
            </a:r>
            <a:endParaRPr lang="en-US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264746E-AA82-42F7-BBDA-6E00668C4757}"/>
              </a:ext>
            </a:extLst>
          </p:cNvPr>
          <p:cNvSpPr txBox="1"/>
          <p:nvPr/>
        </p:nvSpPr>
        <p:spPr>
          <a:xfrm>
            <a:off x="4642987" y="1410610"/>
            <a:ext cx="2670666" cy="2583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300"/>
              </a:spcBef>
            </a:pPr>
            <a:r>
              <a:rPr lang="en-US" sz="20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Plant Capability</a:t>
            </a:r>
            <a:endParaRPr lang="en-US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80E38B8-9826-4C9D-86E3-20569CE68965}"/>
              </a:ext>
            </a:extLst>
          </p:cNvPr>
          <p:cNvSpPr txBox="1"/>
          <p:nvPr/>
        </p:nvSpPr>
        <p:spPr>
          <a:xfrm>
            <a:off x="8722502" y="1821696"/>
            <a:ext cx="3209321" cy="7241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Resource Adequacy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0000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Battery can deliver  additional energy capacity to the grid to maximize revenue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sz="12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8D21B5F-1125-4163-B7DE-3AFA04435E1F}"/>
              </a:ext>
            </a:extLst>
          </p:cNvPr>
          <p:cNvSpPr txBox="1"/>
          <p:nvPr/>
        </p:nvSpPr>
        <p:spPr>
          <a:xfrm>
            <a:off x="8724351" y="2584206"/>
            <a:ext cx="3279480" cy="763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Energy Arbitrag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0000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Charging the battery during off-peak periods and discharging during on-peak periods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C9445FA-B424-49DC-AF13-D0E0427ECBF3}"/>
              </a:ext>
            </a:extLst>
          </p:cNvPr>
          <p:cNvSpPr txBox="1"/>
          <p:nvPr/>
        </p:nvSpPr>
        <p:spPr>
          <a:xfrm>
            <a:off x="667304" y="1802684"/>
            <a:ext cx="3017520" cy="9160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Extended Turndown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Charge the battery with GT at min load to reduce power supplied to grid</a:t>
            </a: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42" name="Grafik 14">
            <a:extLst>
              <a:ext uri="{FF2B5EF4-FFF2-40B4-BE49-F238E27FC236}">
                <a16:creationId xmlns:a16="http://schemas.microsoft.com/office/drawing/2014/main" id="{EA7E375E-054B-4F0B-8BFD-277D5BF97E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35944" y="1946849"/>
            <a:ext cx="319046" cy="319046"/>
          </a:xfrm>
          <a:prstGeom prst="rect">
            <a:avLst/>
          </a:prstGeom>
        </p:spPr>
      </p:pic>
      <p:pic>
        <p:nvPicPr>
          <p:cNvPr id="48" name="Picture 47" descr="See the source image">
            <a:extLst>
              <a:ext uri="{FF2B5EF4-FFF2-40B4-BE49-F238E27FC236}">
                <a16:creationId xmlns:a16="http://schemas.microsoft.com/office/drawing/2014/main" id="{060F1DB1-6603-4D53-AA43-4D05A10C11D3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65" y="2735115"/>
            <a:ext cx="365719" cy="416597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FBC3CB48-7D36-456C-A56F-C60F33F92450}"/>
              </a:ext>
            </a:extLst>
          </p:cNvPr>
          <p:cNvSpPr txBox="1"/>
          <p:nvPr/>
        </p:nvSpPr>
        <p:spPr>
          <a:xfrm>
            <a:off x="8706776" y="4119538"/>
            <a:ext cx="3279480" cy="11155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Spinning Reserv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0000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Battery is synced to grid and provides output instantly while GT is starting up 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 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4F2BC01-0B0F-4097-8B76-51BF6F3D9127}"/>
              </a:ext>
            </a:extLst>
          </p:cNvPr>
          <p:cNvSpPr txBox="1"/>
          <p:nvPr/>
        </p:nvSpPr>
        <p:spPr>
          <a:xfrm>
            <a:off x="8708872" y="4877490"/>
            <a:ext cx="3497312" cy="88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Regulation</a:t>
            </a:r>
            <a:endParaRPr lang="en-US" sz="1200" b="1" dirty="0">
              <a:solidFill>
                <a:srgbClr val="3C464B"/>
              </a:solidFill>
              <a:latin typeface="Siemens Sans" pitchFamily="2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chemeClr val="tx1"/>
                </a:solidFill>
                <a:latin typeface="Siemens Sans" pitchFamily="2" charset="0"/>
              </a:rPr>
              <a:t>Instant battery ramp rate increases revenue from regulation market independent of GT operation.</a:t>
            </a:r>
            <a:endParaRPr lang="en-US" sz="1600" b="1" dirty="0">
              <a:solidFill>
                <a:srgbClr val="3C464B"/>
              </a:solidFill>
              <a:latin typeface="Siemens Sans" pitchFamily="2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9" name="Picture 68" descr="Image result for frequency graph icons">
            <a:extLst>
              <a:ext uri="{FF2B5EF4-FFF2-40B4-BE49-F238E27FC236}">
                <a16:creationId xmlns:a16="http://schemas.microsoft.com/office/drawing/2014/main" id="{484582B8-69D8-4A22-9E65-570EEEF5B6EF}"/>
              </a:ext>
            </a:extLst>
          </p:cNvPr>
          <p:cNvPicPr/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8099" y="4997377"/>
            <a:ext cx="365760" cy="346904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7479ECB2-7FB2-485C-BD75-1C21CE0E3AA9}"/>
              </a:ext>
            </a:extLst>
          </p:cNvPr>
          <p:cNvSpPr txBox="1"/>
          <p:nvPr/>
        </p:nvSpPr>
        <p:spPr>
          <a:xfrm>
            <a:off x="8706776" y="5661248"/>
            <a:ext cx="3481832" cy="6499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Enhanced Peaking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0000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The battery provides power on top of GT output to meet a peaking need or respond to scarcity pricing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C9003B5-3D8E-4EF1-9D82-524632D63F99}"/>
              </a:ext>
            </a:extLst>
          </p:cNvPr>
          <p:cNvSpPr txBox="1"/>
          <p:nvPr/>
        </p:nvSpPr>
        <p:spPr>
          <a:xfrm>
            <a:off x="8724351" y="3336447"/>
            <a:ext cx="3279480" cy="8481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Black star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chemeClr val="tx1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Battery provides power to start gas turbine with no external (grid) power supplied.</a:t>
            </a:r>
          </a:p>
        </p:txBody>
      </p:sp>
      <p:pic>
        <p:nvPicPr>
          <p:cNvPr id="103" name="Picture 102" descr="See the source image">
            <a:extLst>
              <a:ext uri="{FF2B5EF4-FFF2-40B4-BE49-F238E27FC236}">
                <a16:creationId xmlns:a16="http://schemas.microsoft.com/office/drawing/2014/main" id="{BE1A636A-84C5-4ECB-B00B-FDCC8107BC85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66" y="5545499"/>
            <a:ext cx="371307" cy="379297"/>
          </a:xfrm>
          <a:prstGeom prst="rect">
            <a:avLst/>
          </a:prstGeom>
          <a:noFill/>
          <a:ln>
            <a:noFill/>
          </a:ln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51DF3E88-6184-413C-98F7-2CA36D5A76B6}"/>
              </a:ext>
            </a:extLst>
          </p:cNvPr>
          <p:cNvSpPr txBox="1"/>
          <p:nvPr/>
        </p:nvSpPr>
        <p:spPr>
          <a:xfrm>
            <a:off x="630957" y="2705903"/>
            <a:ext cx="3178159" cy="763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Minimize Duct-firing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Replace duct-firing with battery – reducing fuel consumption and emissions generated</a:t>
            </a: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E51B496-22A5-43C7-8A74-575BC52C8E77}"/>
              </a:ext>
            </a:extLst>
          </p:cNvPr>
          <p:cNvSpPr txBox="1"/>
          <p:nvPr/>
        </p:nvSpPr>
        <p:spPr>
          <a:xfrm>
            <a:off x="617977" y="3601642"/>
            <a:ext cx="3203402" cy="763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Ammonia Reduction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Keep GT at steady-state to minimize transient emissions</a:t>
            </a: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38E1B045-29A6-4BF3-ABC1-1C91C73B2BF8}"/>
              </a:ext>
            </a:extLst>
          </p:cNvPr>
          <p:cNvSpPr txBox="1"/>
          <p:nvPr/>
        </p:nvSpPr>
        <p:spPr>
          <a:xfrm>
            <a:off x="622640" y="4421302"/>
            <a:ext cx="3017520" cy="9519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Avoid start-up costs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Replace low load / short duration GT starts with the battery resulting in reduced start-up costs, fuel consumption and emissions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AA33D23A-4377-4F76-8A88-1020BA103034}"/>
              </a:ext>
            </a:extLst>
          </p:cNvPr>
          <p:cNvSpPr txBox="1"/>
          <p:nvPr/>
        </p:nvSpPr>
        <p:spPr>
          <a:xfrm>
            <a:off x="621475" y="5473850"/>
            <a:ext cx="3017520" cy="763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Provide start-up loads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Supply start-up loads from battery to eliminate grid dependency and energy costs to start</a:t>
            </a: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74" name="Grafik 24">
            <a:extLst>
              <a:ext uri="{FF2B5EF4-FFF2-40B4-BE49-F238E27FC236}">
                <a16:creationId xmlns:a16="http://schemas.microsoft.com/office/drawing/2014/main" id="{D4CF6EE9-CB54-4860-AF5A-CCDE76C092B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7338" b="66038" l="10000" r="90000">
                        <a14:foregroundMark x1="16450" y1="27706" x2="16450" y2="27706"/>
                        <a14:foregroundMark x1="19913" y1="50649" x2="19913" y2="50649"/>
                        <a14:foregroundMark x1="82684" y1="49351" x2="82684" y2="49351"/>
                        <a14:foregroundMark x1="83117" y1="28139" x2="83117" y2="2813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6625"/>
          <a:stretch/>
        </p:blipFill>
        <p:spPr>
          <a:xfrm>
            <a:off x="4069724" y="4700347"/>
            <a:ext cx="531518" cy="531518"/>
          </a:xfrm>
          <a:prstGeom prst="rect">
            <a:avLst/>
          </a:prstGeom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3BC63723-3A36-4335-B48F-824C95A00F93}"/>
              </a:ext>
            </a:extLst>
          </p:cNvPr>
          <p:cNvSpPr txBox="1"/>
          <p:nvPr/>
        </p:nvSpPr>
        <p:spPr>
          <a:xfrm>
            <a:off x="4704418" y="4745179"/>
            <a:ext cx="3248685" cy="9160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Adaptability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0000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Enables plant to diversify capabilities and adapt to changing market conditions</a:t>
            </a: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71" name="Grafik 9">
            <a:extLst>
              <a:ext uri="{FF2B5EF4-FFF2-40B4-BE49-F238E27FC236}">
                <a16:creationId xmlns:a16="http://schemas.microsoft.com/office/drawing/2014/main" id="{63358E59-A1A4-4436-85DF-EEB1A686516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6423" y="2843217"/>
            <a:ext cx="365760" cy="365760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50723C71-4C8F-462F-B211-234AAE8FFD4A}"/>
              </a:ext>
            </a:extLst>
          </p:cNvPr>
          <p:cNvSpPr txBox="1"/>
          <p:nvPr/>
        </p:nvSpPr>
        <p:spPr>
          <a:xfrm>
            <a:off x="4694535" y="2713713"/>
            <a:ext cx="3258569" cy="9160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Grid Balancing Service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0000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Provide grid balancing services by delivering or consuming MWs and </a:t>
            </a:r>
            <a:r>
              <a:rPr lang="en-US" sz="1200" dirty="0" err="1">
                <a:solidFill>
                  <a:srgbClr val="000000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VARs</a:t>
            </a:r>
            <a:r>
              <a:rPr lang="en-US" sz="1600" dirty="0" err="1">
                <a:solidFill>
                  <a:srgbClr val="000000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en-US" sz="1600" dirty="0">
              <a:solidFill>
                <a:srgbClr val="000000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77" name="Grafik 21">
            <a:extLst>
              <a:ext uri="{FF2B5EF4-FFF2-40B4-BE49-F238E27FC236}">
                <a16:creationId xmlns:a16="http://schemas.microsoft.com/office/drawing/2014/main" id="{5D7192C2-C32B-404C-B9F9-0D84F2A4485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6626" y="3759670"/>
            <a:ext cx="365760" cy="36576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D5F91FFD-E685-4E3A-B5C6-04A4EB35D402}"/>
              </a:ext>
            </a:extLst>
          </p:cNvPr>
          <p:cNvSpPr txBox="1"/>
          <p:nvPr/>
        </p:nvSpPr>
        <p:spPr>
          <a:xfrm>
            <a:off x="4695900" y="3642652"/>
            <a:ext cx="3144026" cy="9160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Fast Star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chemeClr val="tx1"/>
                </a:solidFill>
                <a:latin typeface="Siemens Sans" pitchFamily="2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Battery output is available immediately, bridging the gap between grid demand and gas turbine start-up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DD10E99-24AF-45DF-8360-83A58E28E5DB}"/>
              </a:ext>
            </a:extLst>
          </p:cNvPr>
          <p:cNvSpPr txBox="1"/>
          <p:nvPr/>
        </p:nvSpPr>
        <p:spPr>
          <a:xfrm>
            <a:off x="4695900" y="1858646"/>
            <a:ext cx="3262176" cy="9160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Fast Ramp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0000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The battery can deliver full output in milliseconds to ramp quickly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7E65757-AACB-42AB-972A-1A1452AFB5D6}"/>
              </a:ext>
            </a:extLst>
          </p:cNvPr>
          <p:cNvSpPr txBox="1"/>
          <p:nvPr/>
        </p:nvSpPr>
        <p:spPr>
          <a:xfrm>
            <a:off x="4670380" y="5628864"/>
            <a:ext cx="3248684" cy="9160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solidFill>
                  <a:srgbClr val="3C464B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Reliability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0000"/>
                </a:solidFill>
                <a:latin typeface="Siemens Sans"/>
                <a:ea typeface="Arial Unicode MS" panose="020B0604020202020204" pitchFamily="34" charset="-128"/>
                <a:cs typeface="Arial Unicode MS" panose="020B0604020202020204" pitchFamily="34" charset="-128"/>
              </a:rPr>
              <a:t>Increases plant / grid stability and availability optimizing plant operational performance</a:t>
            </a:r>
            <a:endParaRPr lang="en-US" sz="1600" b="1" dirty="0">
              <a:solidFill>
                <a:srgbClr val="3C464B"/>
              </a:solidFill>
              <a:latin typeface="Siemens Sans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50" name="Picture 49" descr="Image result for no power  icons">
            <a:extLst>
              <a:ext uri="{FF2B5EF4-FFF2-40B4-BE49-F238E27FC236}">
                <a16:creationId xmlns:a16="http://schemas.microsoft.com/office/drawing/2014/main" id="{4BBD7134-B4D4-4F1D-9AA4-5A5FDF111BB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187" y="3350903"/>
            <a:ext cx="403415" cy="403415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Grafik 56">
            <a:extLst>
              <a:ext uri="{FF2B5EF4-FFF2-40B4-BE49-F238E27FC236}">
                <a16:creationId xmlns:a16="http://schemas.microsoft.com/office/drawing/2014/main" id="{ECC38CA2-48C1-49F0-AD72-CA7D48D35BAE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0000" l="10000" r="90000">
                        <a14:foregroundMark x1="45833" y1="22005" x2="45833" y2="22005"/>
                        <a14:foregroundMark x1="74219" y1="52865" x2="74219" y2="5286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305" y="3600610"/>
            <a:ext cx="526027" cy="526027"/>
          </a:xfrm>
          <a:prstGeom prst="rect">
            <a:avLst/>
          </a:prstGeom>
        </p:spPr>
      </p:pic>
      <p:pic>
        <p:nvPicPr>
          <p:cNvPr id="53" name="Grafik 42">
            <a:extLst>
              <a:ext uri="{FF2B5EF4-FFF2-40B4-BE49-F238E27FC236}">
                <a16:creationId xmlns:a16="http://schemas.microsoft.com/office/drawing/2014/main" id="{1C46A40C-BB15-4991-97C5-A2C63D9BF25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0000" b="90000" l="10000" r="90000">
                        <a14:foregroundMark x1="49870" y1="45573" x2="49870" y2="45573"/>
                        <a14:foregroundMark x1="43490" y1="66797" x2="43490" y2="66797"/>
                        <a14:foregroundMark x1="34245" y1="61328" x2="34245" y2="61328"/>
                        <a14:foregroundMark x1="29557" y1="53906" x2="29557" y2="539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9730" y="5610940"/>
            <a:ext cx="605339" cy="605339"/>
          </a:xfrm>
          <a:prstGeom prst="rect">
            <a:avLst/>
          </a:prstGeom>
        </p:spPr>
      </p:pic>
      <p:pic>
        <p:nvPicPr>
          <p:cNvPr id="58" name="Grafik 47">
            <a:extLst>
              <a:ext uri="{FF2B5EF4-FFF2-40B4-BE49-F238E27FC236}">
                <a16:creationId xmlns:a16="http://schemas.microsoft.com/office/drawing/2014/main" id="{242FB576-8E97-4A17-86FB-6EC2C156C15F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10000" b="90000" l="10000" r="90000">
                        <a14:foregroundMark x1="14453" y1="30078" x2="14453" y2="30078"/>
                        <a14:foregroundMark x1="22656" y1="41927" x2="22656" y2="41927"/>
                        <a14:foregroundMark x1="29297" y1="40495" x2="29297" y2="40495"/>
                        <a14:foregroundMark x1="67188" y1="41927" x2="67188" y2="41927"/>
                        <a14:foregroundMark x1="74609" y1="41276" x2="74609" y2="41276"/>
                        <a14:foregroundMark x1="83594" y1="41276" x2="83594" y2="412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5521" y="1900135"/>
            <a:ext cx="519608" cy="519608"/>
          </a:xfrm>
          <a:prstGeom prst="rect">
            <a:avLst/>
          </a:prstGeom>
        </p:spPr>
      </p:pic>
      <p:pic>
        <p:nvPicPr>
          <p:cNvPr id="59" name="Grafik 28">
            <a:extLst>
              <a:ext uri="{FF2B5EF4-FFF2-40B4-BE49-F238E27FC236}">
                <a16:creationId xmlns:a16="http://schemas.microsoft.com/office/drawing/2014/main" id="{DB4C31F1-3904-48C9-82B6-9DFAA4D2039A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10000" b="90000" l="10000" r="90000">
                        <a14:foregroundMark x1="39844" y1="50000" x2="39844" y2="50000"/>
                        <a14:foregroundMark x1="72396" y1="15755" x2="72396" y2="157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05" y="4456459"/>
            <a:ext cx="501122" cy="501122"/>
          </a:xfrm>
          <a:prstGeom prst="rect">
            <a:avLst/>
          </a:prstGeom>
        </p:spPr>
      </p:pic>
      <p:pic>
        <p:nvPicPr>
          <p:cNvPr id="60" name="Grafik 28">
            <a:extLst>
              <a:ext uri="{FF2B5EF4-FFF2-40B4-BE49-F238E27FC236}">
                <a16:creationId xmlns:a16="http://schemas.microsoft.com/office/drawing/2014/main" id="{D0264D2B-0D1A-455F-8EEF-418439C4F858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17969" b="72786" l="20052" r="80208">
                        <a14:foregroundMark x1="29557" y1="30078" x2="29557" y2="30078"/>
                        <a14:foregroundMark x1="70443" y1="61849" x2="70443" y2="61849"/>
                        <a14:foregroundMark x1="80208" y1="30859" x2="80208" y2="308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31" t="11154" r="14862" b="20268"/>
          <a:stretch/>
        </p:blipFill>
        <p:spPr>
          <a:xfrm>
            <a:off x="8185529" y="2649057"/>
            <a:ext cx="365760" cy="346904"/>
          </a:xfrm>
          <a:prstGeom prst="rect">
            <a:avLst/>
          </a:prstGeom>
        </p:spPr>
      </p:pic>
      <p:pic>
        <p:nvPicPr>
          <p:cNvPr id="61" name="Picture 60" descr="Image result for fast icons">
            <a:extLst>
              <a:ext uri="{FF2B5EF4-FFF2-40B4-BE49-F238E27FC236}">
                <a16:creationId xmlns:a16="http://schemas.microsoft.com/office/drawing/2014/main" id="{B3228998-7730-4774-8898-F673303146C1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10000" b="90000" l="10000" r="91818">
                        <a14:foregroundMark x1="91818" y1="48182" x2="91818" y2="4818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2951" y="1900135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Grafik 17">
            <a:extLst>
              <a:ext uri="{FF2B5EF4-FFF2-40B4-BE49-F238E27FC236}">
                <a16:creationId xmlns:a16="http://schemas.microsoft.com/office/drawing/2014/main" id="{C43E1916-306C-4E2C-B5BB-1437D15B90FC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6954" y="5710078"/>
            <a:ext cx="346905" cy="346905"/>
          </a:xfrm>
          <a:prstGeom prst="rect">
            <a:avLst/>
          </a:prstGeom>
          <a:ln>
            <a:noFill/>
          </a:ln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4C612A3B-DF7D-4CC8-A0C0-2D852C0E171D}"/>
              </a:ext>
            </a:extLst>
          </p:cNvPr>
          <p:cNvGrpSpPr/>
          <p:nvPr/>
        </p:nvGrpSpPr>
        <p:grpSpPr>
          <a:xfrm>
            <a:off x="8185529" y="4229969"/>
            <a:ext cx="399074" cy="375456"/>
            <a:chOff x="8162386" y="4365104"/>
            <a:chExt cx="493026" cy="436616"/>
          </a:xfrm>
        </p:grpSpPr>
        <p:grpSp>
          <p:nvGrpSpPr>
            <p:cNvPr id="91" name="Gruppieren 49">
              <a:extLst>
                <a:ext uri="{FF2B5EF4-FFF2-40B4-BE49-F238E27FC236}">
                  <a16:creationId xmlns:a16="http://schemas.microsoft.com/office/drawing/2014/main" id="{92457E46-7B81-4DB2-B9C2-E4B2020C500B}"/>
                </a:ext>
              </a:extLst>
            </p:cNvPr>
            <p:cNvGrpSpPr/>
            <p:nvPr/>
          </p:nvGrpSpPr>
          <p:grpSpPr>
            <a:xfrm>
              <a:off x="8162386" y="4365104"/>
              <a:ext cx="493026" cy="436616"/>
              <a:chOff x="2974975" y="2473008"/>
              <a:chExt cx="1782763" cy="1631951"/>
            </a:xfrm>
            <a:solidFill>
              <a:schemeClr val="tx1"/>
            </a:solidFill>
          </p:grpSpPr>
          <p:sp>
            <p:nvSpPr>
              <p:cNvPr id="94" name="Oval 22">
                <a:extLst>
                  <a:ext uri="{FF2B5EF4-FFF2-40B4-BE49-F238E27FC236}">
                    <a16:creationId xmlns:a16="http://schemas.microsoft.com/office/drawing/2014/main" id="{C93092B6-B657-4271-86A5-E5918BB608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82988" y="3200083"/>
                <a:ext cx="150813" cy="1524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44" tIns="34272" rIns="68544" bIns="3427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rgbClr val="3C464B"/>
                  </a:solidFill>
                  <a:latin typeface="Siemens Sans"/>
                </a:endParaRPr>
              </a:p>
            </p:txBody>
          </p:sp>
          <p:sp>
            <p:nvSpPr>
              <p:cNvPr id="95" name="Oval 23">
                <a:extLst>
                  <a:ext uri="{FF2B5EF4-FFF2-40B4-BE49-F238E27FC236}">
                    <a16:creationId xmlns:a16="http://schemas.microsoft.com/office/drawing/2014/main" id="{E4B4B941-A410-43F9-9607-D4DF9419C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4463" y="3200083"/>
                <a:ext cx="152400" cy="1524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44" tIns="34272" rIns="68544" bIns="3427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rgbClr val="3C464B"/>
                  </a:solidFill>
                  <a:latin typeface="Siemens Sans"/>
                </a:endParaRPr>
              </a:p>
            </p:txBody>
          </p:sp>
          <p:sp>
            <p:nvSpPr>
              <p:cNvPr id="96" name="Freeform 24">
                <a:extLst>
                  <a:ext uri="{FF2B5EF4-FFF2-40B4-BE49-F238E27FC236}">
                    <a16:creationId xmlns:a16="http://schemas.microsoft.com/office/drawing/2014/main" id="{EF687630-C0DA-4240-A213-85853D8248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78188" y="2701608"/>
                <a:ext cx="1139825" cy="1139826"/>
              </a:xfrm>
              <a:custGeom>
                <a:avLst/>
                <a:gdLst>
                  <a:gd name="T0" fmla="*/ 505 w 1011"/>
                  <a:gd name="T1" fmla="*/ 0 h 1011"/>
                  <a:gd name="T2" fmla="*/ 0 w 1011"/>
                  <a:gd name="T3" fmla="*/ 506 h 1011"/>
                  <a:gd name="T4" fmla="*/ 505 w 1011"/>
                  <a:gd name="T5" fmla="*/ 1011 h 1011"/>
                  <a:gd name="T6" fmla="*/ 1011 w 1011"/>
                  <a:gd name="T7" fmla="*/ 506 h 1011"/>
                  <a:gd name="T8" fmla="*/ 505 w 1011"/>
                  <a:gd name="T9" fmla="*/ 0 h 1011"/>
                  <a:gd name="T10" fmla="*/ 841 w 1011"/>
                  <a:gd name="T11" fmla="*/ 560 h 1011"/>
                  <a:gd name="T12" fmla="*/ 841 w 1011"/>
                  <a:gd name="T13" fmla="*/ 724 h 1011"/>
                  <a:gd name="T14" fmla="*/ 841 w 1011"/>
                  <a:gd name="T15" fmla="*/ 724 h 1011"/>
                  <a:gd name="T16" fmla="*/ 587 w 1011"/>
                  <a:gd name="T17" fmla="*/ 897 h 1011"/>
                  <a:gd name="T18" fmla="*/ 587 w 1011"/>
                  <a:gd name="T19" fmla="*/ 805 h 1011"/>
                  <a:gd name="T20" fmla="*/ 424 w 1011"/>
                  <a:gd name="T21" fmla="*/ 805 h 1011"/>
                  <a:gd name="T22" fmla="*/ 424 w 1011"/>
                  <a:gd name="T23" fmla="*/ 897 h 1011"/>
                  <a:gd name="T24" fmla="*/ 167 w 1011"/>
                  <a:gd name="T25" fmla="*/ 719 h 1011"/>
                  <a:gd name="T26" fmla="*/ 167 w 1011"/>
                  <a:gd name="T27" fmla="*/ 560 h 1011"/>
                  <a:gd name="T28" fmla="*/ 109 w 1011"/>
                  <a:gd name="T29" fmla="*/ 560 h 1011"/>
                  <a:gd name="T30" fmla="*/ 104 w 1011"/>
                  <a:gd name="T31" fmla="*/ 506 h 1011"/>
                  <a:gd name="T32" fmla="*/ 109 w 1011"/>
                  <a:gd name="T33" fmla="*/ 449 h 1011"/>
                  <a:gd name="T34" fmla="*/ 167 w 1011"/>
                  <a:gd name="T35" fmla="*/ 449 h 1011"/>
                  <a:gd name="T36" fmla="*/ 167 w 1011"/>
                  <a:gd name="T37" fmla="*/ 292 h 1011"/>
                  <a:gd name="T38" fmla="*/ 424 w 1011"/>
                  <a:gd name="T39" fmla="*/ 114 h 1011"/>
                  <a:gd name="T40" fmla="*/ 424 w 1011"/>
                  <a:gd name="T41" fmla="*/ 206 h 1011"/>
                  <a:gd name="T42" fmla="*/ 587 w 1011"/>
                  <a:gd name="T43" fmla="*/ 206 h 1011"/>
                  <a:gd name="T44" fmla="*/ 587 w 1011"/>
                  <a:gd name="T45" fmla="*/ 114 h 1011"/>
                  <a:gd name="T46" fmla="*/ 841 w 1011"/>
                  <a:gd name="T47" fmla="*/ 287 h 1011"/>
                  <a:gd name="T48" fmla="*/ 841 w 1011"/>
                  <a:gd name="T49" fmla="*/ 449 h 1011"/>
                  <a:gd name="T50" fmla="*/ 902 w 1011"/>
                  <a:gd name="T51" fmla="*/ 449 h 1011"/>
                  <a:gd name="T52" fmla="*/ 907 w 1011"/>
                  <a:gd name="T53" fmla="*/ 506 h 1011"/>
                  <a:gd name="T54" fmla="*/ 902 w 1011"/>
                  <a:gd name="T55" fmla="*/ 560 h 1011"/>
                  <a:gd name="T56" fmla="*/ 841 w 1011"/>
                  <a:gd name="T57" fmla="*/ 560 h 10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11" h="1011">
                    <a:moveTo>
                      <a:pt x="505" y="0"/>
                    </a:moveTo>
                    <a:cubicBezTo>
                      <a:pt x="227" y="0"/>
                      <a:pt x="0" y="227"/>
                      <a:pt x="0" y="506"/>
                    </a:cubicBezTo>
                    <a:cubicBezTo>
                      <a:pt x="0" y="784"/>
                      <a:pt x="227" y="1011"/>
                      <a:pt x="505" y="1011"/>
                    </a:cubicBezTo>
                    <a:cubicBezTo>
                      <a:pt x="784" y="1011"/>
                      <a:pt x="1011" y="784"/>
                      <a:pt x="1011" y="506"/>
                    </a:cubicBezTo>
                    <a:cubicBezTo>
                      <a:pt x="1011" y="227"/>
                      <a:pt x="784" y="0"/>
                      <a:pt x="505" y="0"/>
                    </a:cubicBezTo>
                    <a:moveTo>
                      <a:pt x="841" y="560"/>
                    </a:moveTo>
                    <a:cubicBezTo>
                      <a:pt x="841" y="724"/>
                      <a:pt x="841" y="724"/>
                      <a:pt x="841" y="724"/>
                    </a:cubicBezTo>
                    <a:cubicBezTo>
                      <a:pt x="841" y="724"/>
                      <a:pt x="841" y="724"/>
                      <a:pt x="841" y="724"/>
                    </a:cubicBezTo>
                    <a:cubicBezTo>
                      <a:pt x="783" y="812"/>
                      <a:pt x="693" y="875"/>
                      <a:pt x="587" y="897"/>
                    </a:cubicBezTo>
                    <a:cubicBezTo>
                      <a:pt x="587" y="805"/>
                      <a:pt x="587" y="805"/>
                      <a:pt x="587" y="805"/>
                    </a:cubicBezTo>
                    <a:cubicBezTo>
                      <a:pt x="424" y="805"/>
                      <a:pt x="424" y="805"/>
                      <a:pt x="424" y="805"/>
                    </a:cubicBezTo>
                    <a:cubicBezTo>
                      <a:pt x="424" y="897"/>
                      <a:pt x="424" y="897"/>
                      <a:pt x="424" y="897"/>
                    </a:cubicBezTo>
                    <a:cubicBezTo>
                      <a:pt x="316" y="875"/>
                      <a:pt x="224" y="809"/>
                      <a:pt x="167" y="719"/>
                    </a:cubicBezTo>
                    <a:cubicBezTo>
                      <a:pt x="167" y="560"/>
                      <a:pt x="167" y="560"/>
                      <a:pt x="167" y="560"/>
                    </a:cubicBezTo>
                    <a:cubicBezTo>
                      <a:pt x="109" y="560"/>
                      <a:pt x="109" y="560"/>
                      <a:pt x="109" y="560"/>
                    </a:cubicBezTo>
                    <a:cubicBezTo>
                      <a:pt x="106" y="543"/>
                      <a:pt x="104" y="524"/>
                      <a:pt x="104" y="506"/>
                    </a:cubicBezTo>
                    <a:cubicBezTo>
                      <a:pt x="104" y="486"/>
                      <a:pt x="106" y="467"/>
                      <a:pt x="109" y="449"/>
                    </a:cubicBezTo>
                    <a:cubicBezTo>
                      <a:pt x="167" y="449"/>
                      <a:pt x="167" y="449"/>
                      <a:pt x="167" y="449"/>
                    </a:cubicBezTo>
                    <a:cubicBezTo>
                      <a:pt x="167" y="292"/>
                      <a:pt x="167" y="292"/>
                      <a:pt x="167" y="292"/>
                    </a:cubicBezTo>
                    <a:cubicBezTo>
                      <a:pt x="224" y="202"/>
                      <a:pt x="316" y="137"/>
                      <a:pt x="424" y="114"/>
                    </a:cubicBezTo>
                    <a:cubicBezTo>
                      <a:pt x="424" y="206"/>
                      <a:pt x="424" y="206"/>
                      <a:pt x="424" y="206"/>
                    </a:cubicBezTo>
                    <a:cubicBezTo>
                      <a:pt x="587" y="206"/>
                      <a:pt x="587" y="206"/>
                      <a:pt x="587" y="206"/>
                    </a:cubicBezTo>
                    <a:cubicBezTo>
                      <a:pt x="587" y="114"/>
                      <a:pt x="587" y="114"/>
                      <a:pt x="587" y="114"/>
                    </a:cubicBezTo>
                    <a:cubicBezTo>
                      <a:pt x="693" y="136"/>
                      <a:pt x="783" y="199"/>
                      <a:pt x="841" y="287"/>
                    </a:cubicBezTo>
                    <a:cubicBezTo>
                      <a:pt x="841" y="449"/>
                      <a:pt x="841" y="449"/>
                      <a:pt x="841" y="449"/>
                    </a:cubicBezTo>
                    <a:cubicBezTo>
                      <a:pt x="902" y="449"/>
                      <a:pt x="902" y="449"/>
                      <a:pt x="902" y="449"/>
                    </a:cubicBezTo>
                    <a:cubicBezTo>
                      <a:pt x="905" y="467"/>
                      <a:pt x="907" y="486"/>
                      <a:pt x="907" y="506"/>
                    </a:cubicBezTo>
                    <a:cubicBezTo>
                      <a:pt x="907" y="524"/>
                      <a:pt x="905" y="543"/>
                      <a:pt x="902" y="560"/>
                    </a:cubicBezTo>
                    <a:lnTo>
                      <a:pt x="841" y="5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44" tIns="34272" rIns="68544" bIns="3427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rgbClr val="3C464B"/>
                  </a:solidFill>
                  <a:latin typeface="Siemens Sans"/>
                </a:endParaRPr>
              </a:p>
            </p:txBody>
          </p:sp>
          <p:sp>
            <p:nvSpPr>
              <p:cNvPr id="97" name="Freeform 25">
                <a:extLst>
                  <a:ext uri="{FF2B5EF4-FFF2-40B4-BE49-F238E27FC236}">
                    <a16:creationId xmlns:a16="http://schemas.microsoft.com/office/drawing/2014/main" id="{97E041B7-6F6D-4F3A-BCAF-EA170F8B1E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74975" y="2473008"/>
                <a:ext cx="1782763" cy="1631951"/>
              </a:xfrm>
              <a:custGeom>
                <a:avLst/>
                <a:gdLst>
                  <a:gd name="T0" fmla="*/ 1582 w 1582"/>
                  <a:gd name="T1" fmla="*/ 613 h 1447"/>
                  <a:gd name="T2" fmla="*/ 1445 w 1582"/>
                  <a:gd name="T3" fmla="*/ 471 h 1447"/>
                  <a:gd name="T4" fmla="*/ 1437 w 1582"/>
                  <a:gd name="T5" fmla="*/ 461 h 1447"/>
                  <a:gd name="T6" fmla="*/ 1275 w 1582"/>
                  <a:gd name="T7" fmla="*/ 207 h 1447"/>
                  <a:gd name="T8" fmla="*/ 774 w 1582"/>
                  <a:gd name="T9" fmla="*/ 0 h 1447"/>
                  <a:gd name="T10" fmla="*/ 351 w 1582"/>
                  <a:gd name="T11" fmla="*/ 142 h 1447"/>
                  <a:gd name="T12" fmla="*/ 280 w 1582"/>
                  <a:gd name="T13" fmla="*/ 74 h 1447"/>
                  <a:gd name="T14" fmla="*/ 232 w 1582"/>
                  <a:gd name="T15" fmla="*/ 235 h 1447"/>
                  <a:gd name="T16" fmla="*/ 217 w 1582"/>
                  <a:gd name="T17" fmla="*/ 273 h 1447"/>
                  <a:gd name="T18" fmla="*/ 274 w 1582"/>
                  <a:gd name="T19" fmla="*/ 1208 h 1447"/>
                  <a:gd name="T20" fmla="*/ 475 w 1582"/>
                  <a:gd name="T21" fmla="*/ 1348 h 1447"/>
                  <a:gd name="T22" fmla="*/ 450 w 1582"/>
                  <a:gd name="T23" fmla="*/ 1447 h 1447"/>
                  <a:gd name="T24" fmla="*/ 644 w 1582"/>
                  <a:gd name="T25" fmla="*/ 1404 h 1447"/>
                  <a:gd name="T26" fmla="*/ 646 w 1582"/>
                  <a:gd name="T27" fmla="*/ 1403 h 1447"/>
                  <a:gd name="T28" fmla="*/ 774 w 1582"/>
                  <a:gd name="T29" fmla="*/ 1415 h 1447"/>
                  <a:gd name="T30" fmla="*/ 1275 w 1582"/>
                  <a:gd name="T31" fmla="*/ 1208 h 1447"/>
                  <a:gd name="T32" fmla="*/ 1479 w 1582"/>
                  <a:gd name="T33" fmla="*/ 645 h 1447"/>
                  <a:gd name="T34" fmla="*/ 1582 w 1582"/>
                  <a:gd name="T35" fmla="*/ 613 h 1447"/>
                  <a:gd name="T36" fmla="*/ 1256 w 1582"/>
                  <a:gd name="T37" fmla="*/ 1189 h 1447"/>
                  <a:gd name="T38" fmla="*/ 774 w 1582"/>
                  <a:gd name="T39" fmla="*/ 1388 h 1447"/>
                  <a:gd name="T40" fmla="*/ 661 w 1582"/>
                  <a:gd name="T41" fmla="*/ 1378 h 1447"/>
                  <a:gd name="T42" fmla="*/ 503 w 1582"/>
                  <a:gd name="T43" fmla="*/ 1240 h 1447"/>
                  <a:gd name="T44" fmla="*/ 482 w 1582"/>
                  <a:gd name="T45" fmla="*/ 1322 h 1447"/>
                  <a:gd name="T46" fmla="*/ 293 w 1582"/>
                  <a:gd name="T47" fmla="*/ 1189 h 1447"/>
                  <a:gd name="T48" fmla="*/ 236 w 1582"/>
                  <a:gd name="T49" fmla="*/ 293 h 1447"/>
                  <a:gd name="T50" fmla="*/ 436 w 1582"/>
                  <a:gd name="T51" fmla="*/ 222 h 1447"/>
                  <a:gd name="T52" fmla="*/ 371 w 1582"/>
                  <a:gd name="T53" fmla="*/ 161 h 1447"/>
                  <a:gd name="T54" fmla="*/ 774 w 1582"/>
                  <a:gd name="T55" fmla="*/ 27 h 1447"/>
                  <a:gd name="T56" fmla="*/ 1256 w 1582"/>
                  <a:gd name="T57" fmla="*/ 227 h 1447"/>
                  <a:gd name="T58" fmla="*/ 1412 w 1582"/>
                  <a:gd name="T59" fmla="*/ 472 h 1447"/>
                  <a:gd name="T60" fmla="*/ 1412 w 1582"/>
                  <a:gd name="T61" fmla="*/ 474 h 1447"/>
                  <a:gd name="T62" fmla="*/ 1377 w 1582"/>
                  <a:gd name="T63" fmla="*/ 676 h 1447"/>
                  <a:gd name="T64" fmla="*/ 1452 w 1582"/>
                  <a:gd name="T65" fmla="*/ 653 h 1447"/>
                  <a:gd name="T66" fmla="*/ 1256 w 1582"/>
                  <a:gd name="T67" fmla="*/ 1189 h 1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82" h="1447">
                    <a:moveTo>
                      <a:pt x="1582" y="613"/>
                    </a:moveTo>
                    <a:cubicBezTo>
                      <a:pt x="1445" y="471"/>
                      <a:pt x="1445" y="471"/>
                      <a:pt x="1445" y="471"/>
                    </a:cubicBezTo>
                    <a:cubicBezTo>
                      <a:pt x="1437" y="461"/>
                      <a:pt x="1437" y="461"/>
                      <a:pt x="1437" y="461"/>
                    </a:cubicBezTo>
                    <a:cubicBezTo>
                      <a:pt x="1403" y="369"/>
                      <a:pt x="1349" y="282"/>
                      <a:pt x="1275" y="207"/>
                    </a:cubicBezTo>
                    <a:cubicBezTo>
                      <a:pt x="1141" y="74"/>
                      <a:pt x="964" y="0"/>
                      <a:pt x="774" y="0"/>
                    </a:cubicBezTo>
                    <a:cubicBezTo>
                      <a:pt x="620" y="0"/>
                      <a:pt x="473" y="50"/>
                      <a:pt x="351" y="142"/>
                    </a:cubicBezTo>
                    <a:cubicBezTo>
                      <a:pt x="280" y="74"/>
                      <a:pt x="280" y="74"/>
                      <a:pt x="280" y="74"/>
                    </a:cubicBezTo>
                    <a:cubicBezTo>
                      <a:pt x="232" y="235"/>
                      <a:pt x="232" y="235"/>
                      <a:pt x="232" y="235"/>
                    </a:cubicBezTo>
                    <a:cubicBezTo>
                      <a:pt x="217" y="273"/>
                      <a:pt x="217" y="273"/>
                      <a:pt x="217" y="273"/>
                    </a:cubicBezTo>
                    <a:cubicBezTo>
                      <a:pt x="0" y="550"/>
                      <a:pt x="19" y="953"/>
                      <a:pt x="274" y="1208"/>
                    </a:cubicBezTo>
                    <a:cubicBezTo>
                      <a:pt x="333" y="1267"/>
                      <a:pt x="401" y="1314"/>
                      <a:pt x="475" y="1348"/>
                    </a:cubicBezTo>
                    <a:cubicBezTo>
                      <a:pt x="450" y="1447"/>
                      <a:pt x="450" y="1447"/>
                      <a:pt x="450" y="1447"/>
                    </a:cubicBezTo>
                    <a:cubicBezTo>
                      <a:pt x="644" y="1404"/>
                      <a:pt x="644" y="1404"/>
                      <a:pt x="644" y="1404"/>
                    </a:cubicBezTo>
                    <a:cubicBezTo>
                      <a:pt x="646" y="1403"/>
                      <a:pt x="646" y="1403"/>
                      <a:pt x="646" y="1403"/>
                    </a:cubicBezTo>
                    <a:cubicBezTo>
                      <a:pt x="688" y="1411"/>
                      <a:pt x="731" y="1415"/>
                      <a:pt x="774" y="1415"/>
                    </a:cubicBezTo>
                    <a:cubicBezTo>
                      <a:pt x="964" y="1415"/>
                      <a:pt x="1141" y="1342"/>
                      <a:pt x="1275" y="1208"/>
                    </a:cubicBezTo>
                    <a:cubicBezTo>
                      <a:pt x="1429" y="1054"/>
                      <a:pt x="1496" y="846"/>
                      <a:pt x="1479" y="645"/>
                    </a:cubicBezTo>
                    <a:lnTo>
                      <a:pt x="1582" y="613"/>
                    </a:lnTo>
                    <a:close/>
                    <a:moveTo>
                      <a:pt x="1256" y="1189"/>
                    </a:moveTo>
                    <a:cubicBezTo>
                      <a:pt x="1127" y="1317"/>
                      <a:pt x="956" y="1388"/>
                      <a:pt x="774" y="1388"/>
                    </a:cubicBezTo>
                    <a:cubicBezTo>
                      <a:pt x="736" y="1388"/>
                      <a:pt x="698" y="1384"/>
                      <a:pt x="661" y="1378"/>
                    </a:cubicBezTo>
                    <a:cubicBezTo>
                      <a:pt x="503" y="1240"/>
                      <a:pt x="503" y="1240"/>
                      <a:pt x="503" y="1240"/>
                    </a:cubicBezTo>
                    <a:cubicBezTo>
                      <a:pt x="482" y="1322"/>
                      <a:pt x="482" y="1322"/>
                      <a:pt x="482" y="1322"/>
                    </a:cubicBezTo>
                    <a:cubicBezTo>
                      <a:pt x="413" y="1289"/>
                      <a:pt x="349" y="1245"/>
                      <a:pt x="293" y="1189"/>
                    </a:cubicBezTo>
                    <a:cubicBezTo>
                      <a:pt x="49" y="945"/>
                      <a:pt x="30" y="559"/>
                      <a:pt x="236" y="293"/>
                    </a:cubicBezTo>
                    <a:cubicBezTo>
                      <a:pt x="436" y="222"/>
                      <a:pt x="436" y="222"/>
                      <a:pt x="436" y="222"/>
                    </a:cubicBezTo>
                    <a:cubicBezTo>
                      <a:pt x="371" y="161"/>
                      <a:pt x="371" y="161"/>
                      <a:pt x="371" y="161"/>
                    </a:cubicBezTo>
                    <a:cubicBezTo>
                      <a:pt x="488" y="75"/>
                      <a:pt x="627" y="27"/>
                      <a:pt x="774" y="27"/>
                    </a:cubicBezTo>
                    <a:cubicBezTo>
                      <a:pt x="956" y="27"/>
                      <a:pt x="1127" y="98"/>
                      <a:pt x="1256" y="227"/>
                    </a:cubicBezTo>
                    <a:cubicBezTo>
                      <a:pt x="1328" y="298"/>
                      <a:pt x="1379" y="383"/>
                      <a:pt x="1412" y="472"/>
                    </a:cubicBezTo>
                    <a:cubicBezTo>
                      <a:pt x="1412" y="474"/>
                      <a:pt x="1412" y="474"/>
                      <a:pt x="1412" y="474"/>
                    </a:cubicBezTo>
                    <a:cubicBezTo>
                      <a:pt x="1377" y="676"/>
                      <a:pt x="1377" y="676"/>
                      <a:pt x="1377" y="676"/>
                    </a:cubicBezTo>
                    <a:cubicBezTo>
                      <a:pt x="1452" y="653"/>
                      <a:pt x="1452" y="653"/>
                      <a:pt x="1452" y="653"/>
                    </a:cubicBezTo>
                    <a:cubicBezTo>
                      <a:pt x="1467" y="845"/>
                      <a:pt x="1402" y="1042"/>
                      <a:pt x="1256" y="1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44" tIns="34272" rIns="68544" bIns="3427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rgbClr val="3C464B"/>
                  </a:solidFill>
                  <a:latin typeface="Siemens Sans"/>
                </a:endParaRPr>
              </a:p>
            </p:txBody>
          </p:sp>
        </p:grpSp>
        <p:sp>
          <p:nvSpPr>
            <p:cNvPr id="92" name="Rounded Rectangle 37">
              <a:extLst>
                <a:ext uri="{FF2B5EF4-FFF2-40B4-BE49-F238E27FC236}">
                  <a16:creationId xmlns:a16="http://schemas.microsoft.com/office/drawing/2014/main" id="{4D6E943D-F74D-44C4-B43A-43C063059B95}"/>
                </a:ext>
              </a:extLst>
            </p:cNvPr>
            <p:cNvSpPr/>
            <p:nvPr/>
          </p:nvSpPr>
          <p:spPr bwMode="auto">
            <a:xfrm>
              <a:off x="8332267" y="4493025"/>
              <a:ext cx="43721" cy="1200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7974" tIns="53987" rIns="107974" bIns="53987" numCol="1" spcCol="96026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3C464B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1" name="Rounded Rectangle 37">
              <a:extLst>
                <a:ext uri="{FF2B5EF4-FFF2-40B4-BE49-F238E27FC236}">
                  <a16:creationId xmlns:a16="http://schemas.microsoft.com/office/drawing/2014/main" id="{DA921C4B-6745-4827-A3CE-EF336907E688}"/>
                </a:ext>
              </a:extLst>
            </p:cNvPr>
            <p:cNvSpPr/>
            <p:nvPr/>
          </p:nvSpPr>
          <p:spPr bwMode="auto">
            <a:xfrm>
              <a:off x="8437945" y="4492006"/>
              <a:ext cx="43721" cy="1200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7974" tIns="53987" rIns="107974" bIns="53987" numCol="1" spcCol="96026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3C464B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0910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EE4P_STYLE_ID" val="040887b0-086c-4ff4-2016-b5b55c2754e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lvtxC6Fv1qehKWHW9f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dsCgspRhSdf6YOCC64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J7dCUktE.ZoHdszBMF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2vNOtx0i.slY_NWQ.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28l_wGaEW0AXl23bTYB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wmmvWmhkOrjmlDaMNo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JSROUdgEuuKLajTDyZ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eOpfA8E0K9By7NNiyW0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.LbcDukESA4jEnTrAau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BcTEKjwUGL5Hdf0bGz0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ZDdLg8U69kEXZ1sZ5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H8L0i6qUasJHsfv2dsS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GH.C7Lm0ap6g5.rha.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X7ZwqvRUqNG4b5wJZH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plGREEmkacZ_EU4Qms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PvKRiWt0ijWROdMQWM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jLaOX9kU2D_cYbs2ucj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uQaCFcoUyL2t8IBWBu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_gSxXw602bWSqDd0dr4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zAmAcihkGzf_jAjItMh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ttkPzapUiCfjnJLWhe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og0qnaJ0qYwNdUYj5vZ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gFJkdXnkeFuMKxKmeT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xHh2qNJE2.9M2wo6Kx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7dTu8pyEiePIqhOxMI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y8ait5YUiSU_7u2Iw3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PgKnPiMU2o6cCfBiJPZ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QKXyHXH0W9tC0UmYD3J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aQ7fOpgEW3KqH.yXOQ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Sans">
      <a:majorFont>
        <a:latin typeface="Siemens Sans"/>
        <a:ea typeface=""/>
        <a:cs typeface=""/>
      </a:majorFont>
      <a:minorFont>
        <a:latin typeface="Siemens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hree columns + Navigation</Name>
  <PpLayout>32</PpLayout>
  <Index>20</Index>
</p4ppTags>
</file>

<file path=customXml/item10.xml><?xml version="1.0" encoding="utf-8"?>
<p4ppTags>
  <Name>Three columns</Name>
  <PpLayout>32</PpLayout>
  <Index>14</Index>
</p4ppTags>
</file>

<file path=customXml/item11.xml><?xml version="1.0" encoding="utf-8"?>
<p4ppTags>
  <Name>Four objects</Name>
  <PpLayout>24</PpLayout>
  <Index>15</Index>
</p4ppTags>
</file>

<file path=customXml/item12.xml><?xml version="1.0" encoding="utf-8"?>
<p4ppTags>
  <Name>Two columns</Name>
  <PpLayout>29</PpLayout>
  <Index>12</Index>
</p4ppTags>
</file>

<file path=customXml/item13.xml><?xml version="1.0" encoding="utf-8"?>
<p4ppTags>
  <Name>Two rows + Navigation</Name>
  <PpLayout>32</PpLayout>
  <Index>21</Index>
</p4ppTags>
</file>

<file path=customXml/item14.xml><?xml version="1.0" encoding="utf-8"?>
<p4ppTags>
  <Name>Free Content + Navigation</Name>
  <PpLayout>32</PpLayout>
  <Index>16</Index>
</p4ppTags>
</file>

<file path=customXml/item15.xml><?xml version="1.0" encoding="utf-8"?>
<p4ppTags>
  <Name>Four objects</Name>
  <PpLayout>24</PpLayout>
  <Index>15</Index>
</p4ppTags>
</file>

<file path=customXml/item16.xml><?xml version="1.0" encoding="utf-8"?>
<p4ppTags>
  <Name>One object (large) + Navigation</Name>
  <PpLayout>32</PpLayout>
  <Index>17</Index>
</p4ppTags>
</file>

<file path=customXml/item17.xml><?xml version="1.0" encoding="utf-8"?>
<p4ppTags>
  <Name>Two columns + Navigation</Name>
  <PpLayout>32</PpLayout>
  <Index>19</Index>
</p4ppTags>
</file>

<file path=customXml/item18.xml><?xml version="1.0" encoding="utf-8"?>
<p4ppTags>
  <Name>One object (small)</Name>
  <PpLayout>16</PpLayout>
  <Index>11</Index>
</p4ppTags>
</file>

<file path=customXml/item19.xml><?xml version="1.0" encoding="utf-8"?>
<p4ppTags>
  <Name>Four objects + Navigation</Name>
  <PpLayout>32</PpLayout>
  <Index>22</Index>
</p4ppTags>
</file>

<file path=customXml/item2.xml><?xml version="1.0" encoding="utf-8"?>
<p4ppTags>
  <Name>One object (large)</Name>
  <PpLayout>16</PpLayout>
  <Index>10</Index>
</p4ppTags>
</file>

<file path=customXml/item20.xml><?xml version="1.0" encoding="utf-8"?>
<p4ppTags>
  <Name>Two rows</Name>
  <PpLayout>32</PpLayout>
  <Index>13</Index>
</p4ppTags>
</file>

<file path=customXml/item21.xml><?xml version="1.0" encoding="utf-8"?>
<p4ppTags>
  <Name>Two rows + Navigation</Name>
  <PpLayout>32</PpLayout>
  <Index>21</Index>
</p4ppTags>
</file>

<file path=customXml/item22.xml><?xml version="1.0" encoding="utf-8"?>
<p4ppTags>
  <Name>Two columns</Name>
  <PpLayout>29</PpLayout>
  <Index>12</Index>
</p4ppTags>
</file>

<file path=customXml/item3.xml><?xml version="1.0" encoding="utf-8"?>
<p4ppTags>
  <Name>Free Content</Name>
  <PpLayout>11</PpLayout>
  <Index>9</Index>
</p4ppTags>
</file>

<file path=customXml/item4.xml><?xml version="1.0" encoding="utf-8"?>
<p4ppTags>
  <Name>One object (small) + Navigation</Name>
  <PpLayout>32</PpLayout>
  <Index>18</Index>
</p4ppTags>
</file>

<file path=customXml/item5.xml><?xml version="1.0" encoding="utf-8"?>
<p4ppTags>
  <Name>One object (small) + Navigation</Name>
  <PpLayout>32</PpLayout>
  <Index>18</Index>
</p4ppTags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p4ppTags>
  <Name>One object (large)</Name>
  <PpLayout>16</PpLayout>
  <Index>10</Index>
</p4ppTags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9.xml><?xml version="1.0" encoding="utf-8"?>
<p4ppTags>
  <Name>Text + Index</Name>
  <PpLayout>32</PpLayout>
  <Index>8</Index>
</p4ppTags>
</file>

<file path=customXml/itemProps1.xml><?xml version="1.0" encoding="utf-8"?>
<ds:datastoreItem xmlns:ds="http://schemas.openxmlformats.org/officeDocument/2006/customXml" ds:itemID="{96CE238F-525F-467E-8168-BA38E1E9CD53}">
  <ds:schemaRefs/>
</ds:datastoreItem>
</file>

<file path=customXml/itemProps10.xml><?xml version="1.0" encoding="utf-8"?>
<ds:datastoreItem xmlns:ds="http://schemas.openxmlformats.org/officeDocument/2006/customXml" ds:itemID="{7D4D38DD-5C6E-4C7A-9B1D-3030263DEBBD}">
  <ds:schemaRefs/>
</ds:datastoreItem>
</file>

<file path=customXml/itemProps11.xml><?xml version="1.0" encoding="utf-8"?>
<ds:datastoreItem xmlns:ds="http://schemas.openxmlformats.org/officeDocument/2006/customXml" ds:itemID="{8BD72CC5-7758-47B0-B208-F0F8FEF7806A}">
  <ds:schemaRefs/>
</ds:datastoreItem>
</file>

<file path=customXml/itemProps12.xml><?xml version="1.0" encoding="utf-8"?>
<ds:datastoreItem xmlns:ds="http://schemas.openxmlformats.org/officeDocument/2006/customXml" ds:itemID="{6E698C28-ECFA-43D9-867D-061C2F47047F}">
  <ds:schemaRefs/>
</ds:datastoreItem>
</file>

<file path=customXml/itemProps13.xml><?xml version="1.0" encoding="utf-8"?>
<ds:datastoreItem xmlns:ds="http://schemas.openxmlformats.org/officeDocument/2006/customXml" ds:itemID="{CEBB64AB-C755-4570-9C3A-21780DE2CB78}">
  <ds:schemaRefs/>
</ds:datastoreItem>
</file>

<file path=customXml/itemProps14.xml><?xml version="1.0" encoding="utf-8"?>
<ds:datastoreItem xmlns:ds="http://schemas.openxmlformats.org/officeDocument/2006/customXml" ds:itemID="{7CC5F709-E74B-4E5F-A728-923D5062EBEF}">
  <ds:schemaRefs/>
</ds:datastoreItem>
</file>

<file path=customXml/itemProps15.xml><?xml version="1.0" encoding="utf-8"?>
<ds:datastoreItem xmlns:ds="http://schemas.openxmlformats.org/officeDocument/2006/customXml" ds:itemID="{1581BFFB-B4CE-47A8-BE77-DC1339B1E5A7}">
  <ds:schemaRefs/>
</ds:datastoreItem>
</file>

<file path=customXml/itemProps16.xml><?xml version="1.0" encoding="utf-8"?>
<ds:datastoreItem xmlns:ds="http://schemas.openxmlformats.org/officeDocument/2006/customXml" ds:itemID="{52041EEC-B3D8-4C30-B44A-1A6231D6AFE6}">
  <ds:schemaRefs/>
</ds:datastoreItem>
</file>

<file path=customXml/itemProps17.xml><?xml version="1.0" encoding="utf-8"?>
<ds:datastoreItem xmlns:ds="http://schemas.openxmlformats.org/officeDocument/2006/customXml" ds:itemID="{657E3815-B878-4FFD-BE2C-37491160FCEF}">
  <ds:schemaRefs/>
</ds:datastoreItem>
</file>

<file path=customXml/itemProps18.xml><?xml version="1.0" encoding="utf-8"?>
<ds:datastoreItem xmlns:ds="http://schemas.openxmlformats.org/officeDocument/2006/customXml" ds:itemID="{C2D19DFE-D014-4686-8E81-A711E04E782D}">
  <ds:schemaRefs/>
</ds:datastoreItem>
</file>

<file path=customXml/itemProps19.xml><?xml version="1.0" encoding="utf-8"?>
<ds:datastoreItem xmlns:ds="http://schemas.openxmlformats.org/officeDocument/2006/customXml" ds:itemID="{EF64F7F2-96FA-49D9-B2AC-84D35CE6F519}">
  <ds:schemaRefs/>
</ds:datastoreItem>
</file>

<file path=customXml/itemProps2.xml><?xml version="1.0" encoding="utf-8"?>
<ds:datastoreItem xmlns:ds="http://schemas.openxmlformats.org/officeDocument/2006/customXml" ds:itemID="{256795B9-469C-4F48-93F1-47FEC55F11C4}">
  <ds:schemaRefs/>
</ds:datastoreItem>
</file>

<file path=customXml/itemProps20.xml><?xml version="1.0" encoding="utf-8"?>
<ds:datastoreItem xmlns:ds="http://schemas.openxmlformats.org/officeDocument/2006/customXml" ds:itemID="{F7F8840D-C7B8-4EC6-9393-D59785B5DFF2}">
  <ds:schemaRefs/>
</ds:datastoreItem>
</file>

<file path=customXml/itemProps21.xml><?xml version="1.0" encoding="utf-8"?>
<ds:datastoreItem xmlns:ds="http://schemas.openxmlformats.org/officeDocument/2006/customXml" ds:itemID="{6C79E4F8-DCFB-483C-880A-AEEC6AAFC838}">
  <ds:schemaRefs/>
</ds:datastoreItem>
</file>

<file path=customXml/itemProps22.xml><?xml version="1.0" encoding="utf-8"?>
<ds:datastoreItem xmlns:ds="http://schemas.openxmlformats.org/officeDocument/2006/customXml" ds:itemID="{1666F4C2-68F5-4840-A44A-1A646C0925A1}">
  <ds:schemaRefs/>
</ds:datastoreItem>
</file>

<file path=customXml/itemProps3.xml><?xml version="1.0" encoding="utf-8"?>
<ds:datastoreItem xmlns:ds="http://schemas.openxmlformats.org/officeDocument/2006/customXml" ds:itemID="{D8097D0C-BE3E-4AEC-9593-65CFCCB19297}">
  <ds:schemaRefs/>
</ds:datastoreItem>
</file>

<file path=customXml/itemProps4.xml><?xml version="1.0" encoding="utf-8"?>
<ds:datastoreItem xmlns:ds="http://schemas.openxmlformats.org/officeDocument/2006/customXml" ds:itemID="{34D323B1-6276-4AF8-8006-41BA9923F647}">
  <ds:schemaRefs/>
</ds:datastoreItem>
</file>

<file path=customXml/itemProps5.xml><?xml version="1.0" encoding="utf-8"?>
<ds:datastoreItem xmlns:ds="http://schemas.openxmlformats.org/officeDocument/2006/customXml" ds:itemID="{D9FE249F-833E-4CF0-BECB-552D01D7DC9E}">
  <ds:schemaRefs/>
</ds:datastoreItem>
</file>

<file path=customXml/itemProps6.xml><?xml version="1.0" encoding="utf-8"?>
<ds:datastoreItem xmlns:ds="http://schemas.openxmlformats.org/officeDocument/2006/customXml" ds:itemID="{F6D53EAC-059E-4C47-825B-725AF5157532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DA6011C9-4CB3-4673-A37C-715992231C84}">
  <ds:schemaRefs/>
</ds:datastoreItem>
</file>

<file path=customXml/itemProps8.xml><?xml version="1.0" encoding="utf-8"?>
<ds:datastoreItem xmlns:ds="http://schemas.openxmlformats.org/officeDocument/2006/customXml" ds:itemID="{44D96CFE-5220-4F2B-A93A-DBE4C58EC445}">
  <ds:schemaRefs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purl.org/dc/dcmitype/"/>
    <ds:schemaRef ds:uri="http://purl.org/dc/elements/1.1/"/>
    <ds:schemaRef ds:uri="http://schemas.openxmlformats.org/package/2006/metadata/core-properties"/>
  </ds:schemaRefs>
</ds:datastoreItem>
</file>

<file path=customXml/itemProps9.xml><?xml version="1.0" encoding="utf-8"?>
<ds:datastoreItem xmlns:ds="http://schemas.openxmlformats.org/officeDocument/2006/customXml" ds:itemID="{7E35FEDB-1F0E-4D67-A313-4AC59C26FF2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1</TotalTime>
  <Words>416</Words>
  <Application>Microsoft Office PowerPoint</Application>
  <PresentationFormat>Custom</PresentationFormat>
  <Paragraphs>84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Siemens Sans</vt:lpstr>
      <vt:lpstr>Wingdings</vt:lpstr>
      <vt:lpstr>Siemens 2016 – 16:9</vt:lpstr>
      <vt:lpstr>think-cell Slide</vt:lpstr>
      <vt:lpstr>Power Generation with Integrated Large-Scale Energy Storage Juan Lopez Director of Solutions Business Development</vt:lpstr>
      <vt:lpstr>Flexibility is the only way to future-proof generation</vt:lpstr>
      <vt:lpstr>SynerGen Technologies  Leveraging strengths via hybrid solutions</vt:lpstr>
      <vt:lpstr>Integrated energy storage enables market participation  through grid support and ancillary services</vt:lpstr>
      <vt:lpstr>SynerGen Use Cases – Battery storage + gas-fired gener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Krueger-Janson, Helen (CC PG GT&amp;DG)</dc:creator>
  <cp:lastModifiedBy>Karen Lockhart</cp:lastModifiedBy>
  <cp:revision>698</cp:revision>
  <cp:lastPrinted>2018-06-12T20:51:49Z</cp:lastPrinted>
  <dcterms:created xsi:type="dcterms:W3CDTF">2006-04-07T10:01:45Z</dcterms:created>
  <dcterms:modified xsi:type="dcterms:W3CDTF">2019-11-14T16:10:34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February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1</vt:lpwstr>
  </property>
  <property fmtid="{D5CDD505-2E9C-101B-9397-08002B2CF9AE}" pid="6" name="ContentTypeId">
    <vt:lpwstr>0x01010091D97C203A1CB945B4EA0F87F8BFDD07</vt:lpwstr>
  </property>
  <property fmtid="{D5CDD505-2E9C-101B-9397-08002B2CF9AE}" pid="7" name="_AdHocReviewCycleID">
    <vt:i4>1146566015</vt:i4>
  </property>
  <property fmtid="{D5CDD505-2E9C-101B-9397-08002B2CF9AE}" pid="8" name="_NewReviewCycle">
    <vt:lpwstr/>
  </property>
  <property fmtid="{D5CDD505-2E9C-101B-9397-08002B2CF9AE}" pid="9" name="_EmailSubject">
    <vt:lpwstr>SynerGen Presentation</vt:lpwstr>
  </property>
  <property fmtid="{D5CDD505-2E9C-101B-9397-08002B2CF9AE}" pid="10" name="_AuthorEmail">
    <vt:lpwstr>jessica.oler@siemens.com</vt:lpwstr>
  </property>
  <property fmtid="{D5CDD505-2E9C-101B-9397-08002B2CF9AE}" pid="11" name="_AuthorEmailDisplayName">
    <vt:lpwstr>Oler, Jessica (CC NA RC-US PG)</vt:lpwstr>
  </property>
  <property fmtid="{D5CDD505-2E9C-101B-9397-08002B2CF9AE}" pid="12" name="_PreviousAdHocReviewCycleID">
    <vt:i4>-1186303094</vt:i4>
  </property>
</Properties>
</file>